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9" r:id="rId4"/>
    <p:sldMasterId id="2147485037" r:id="rId5"/>
  </p:sldMasterIdLst>
  <p:notesMasterIdLst>
    <p:notesMasterId r:id="rId14"/>
  </p:notesMasterIdLst>
  <p:handoutMasterIdLst>
    <p:handoutMasterId r:id="rId15"/>
  </p:handoutMasterIdLst>
  <p:sldIdLst>
    <p:sldId id="2147480159" r:id="rId6"/>
    <p:sldId id="2147482058" r:id="rId7"/>
    <p:sldId id="2147482065" r:id="rId8"/>
    <p:sldId id="2147482074" r:id="rId9"/>
    <p:sldId id="2147482072" r:id="rId10"/>
    <p:sldId id="2147482073" r:id="rId11"/>
    <p:sldId id="2147482071" r:id="rId12"/>
    <p:sldId id="2147482062" r:id="rId13"/>
  </p:sldIdLst>
  <p:sldSz cx="9144000" cy="5143500" type="screen16x9"/>
  <p:notesSz cx="6797675" cy="9926638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9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127B208-4BB7-1666-27C7-E93FC292FB5D}" name="Roman Herman" initials="RH" userId="Roman Herman" providerId="None"/>
  <p188:author id="{5DBBDD13-2C89-2D04-5373-4EEF53C43F84}" name="Martin Kron" initials="MK" userId="S::Martin.Kron@rb.cz::5020025e-3dc2-4e56-8392-af8f181bc2fd" providerId="AD"/>
  <p188:author id="{2EF5AF19-1AE4-948A-CA51-2D3603A1D561}" name="Jan Husar" initials="JH" userId="S::jan.husar@rb.cz::463ce3f8-ec17-4ddf-be5e-a07b3ebbf18d" providerId="AD"/>
  <p188:author id="{36FF542A-4996-5B3C-9A98-15F27F56D1D7}" name="Vratislav Zamis" initials="VZ" userId="S::Vratislav.Zamis@rb.cz::f4341e09-e5bb-4536-913b-70fab91f7412" providerId="AD"/>
  <p188:author id="{A7416D2B-938F-C93F-F113-77050A86703F}" name="Dana Fajmonova 2" initials="DF2" userId="S::Dana.FAJMONOVA@rb.cz::2d84c075-a641-4b0f-b1e1-ac8cc128aed7" providerId="AD"/>
  <p188:author id="{F0AB8D2E-F009-F593-08CA-872F2F98F751}" name="Tomas Blazek" initials="TB" userId="S::Tomas.BLAZEK@rb.cz::8061d253-00c4-4818-bbcc-68039440abf8" providerId="AD"/>
  <p188:author id="{84283242-C0F5-99A5-AAA8-CD6634DDC75F}" name="Martin Kron" initials="MK" userId="S::martin.kron@rb.cz::5020025e-3dc2-4e56-8392-af8f181bc2fd" providerId="AD"/>
  <p188:author id="{C3659347-0979-8D3F-F4C0-23FF96087E6F}" name="David Libich" initials="DL" userId="S::david.libich@rb.cz::02bf7e92-8351-47d1-a5e3-e8c449476a2e" providerId="AD"/>
  <p188:author id="{80D72E49-AA53-AA0B-E936-C346CBCFA914}" name="Helena HORSKA2" initials="HH" userId="S::helena.horska@rb.cz::634e5556-ef56-48af-88b7-5ef129ea9777" providerId="AD"/>
  <p188:author id="{56267B4D-A976-06BB-15AD-B12D6883EDF2}" name="Andrea Klimova" initials="AK" userId="S::andrea.klimova@rb.cz::906cd160-02a6-4064-bcf1-8c24773e19b8" providerId="AD"/>
  <p188:author id="{7D9B8B4E-2E1D-DE89-9247-9A9CBC6E4626}" name="Ivana Šípová (Fabianová)" initials="I(" userId="S::ivana.fabianova@qedgroup.cz::51054feb-d83b-4252-8698-3525e033f556" providerId="AD"/>
  <p188:author id="{8CBF3081-38C9-4C43-56C2-E5315C18DF4D}" name="Petra Nemcova 3" initials="PN3" userId="S::Petra.NEMCOVA3@rb.cz::702f42e6-7b60-4f25-a0f0-10d29c1a4962" providerId="AD"/>
  <p188:author id="{427CA286-04F5-26E9-CB48-E0C24E21B0D8}" name="David Libich" initials="DL" userId="S::David.Libich@rb.cz::02bf7e92-8351-47d1-a5e3-e8c449476a2e" providerId="AD"/>
  <p188:author id="{620D848F-C322-6572-4099-5AC64CFB3B67}" name="Tereza Krcek" initials="TK" userId="S::Tereza.KRCEK@rb.cz::3b362cb5-546d-4fd3-b388-335327fc78b2" providerId="AD"/>
  <p188:author id="{A7258F94-7305-D006-1987-CE9730C78402}" name="Helena HORSKA2" initials="HH" userId="S::Helena.HORSKA@rb.cz::634e5556-ef56-48af-88b7-5ef129ea9777" providerId="AD"/>
  <p188:author id="{21AF7096-F6FB-8108-D350-B28B75B0EC26}" name="Andrea Klimova" initials="AK" userId="S::Andrea.KLIMOVA@rb.cz::906cd160-02a6-4064-bcf1-8c24773e19b8" providerId="AD"/>
  <p188:author id="{224B7DA9-7B35-EDAB-1858-D1167CC22CB6}" name="Martin Pochopin" initials="MP" userId="S::Martin.POCHOPIN@rb.cz::7bd34d7c-511b-43d2-84d0-a27b53656c1d" providerId="AD"/>
  <p188:author id="{1BA0BAB5-9FA7-B7DE-3DB7-839C59C46B4C}" name="Jaroslav Horvath" initials="JH" userId="S::Jaroslav.HORVATH@rb.cz::43a0b2c1-db33-4567-aad7-c36e7dd6eeab" providerId="AD"/>
  <p188:author id="{1670A3CB-0170-63C0-3CF2-B664ED44A77C}" name="Martin Pochopin" initials="MP" userId="S::martin.pochopin@rb.cz::7bd34d7c-511b-43d2-84d0-a27b53656c1d" providerId="AD"/>
  <p188:author id="{2AF1B8D0-5599-4C5C-AC6E-997A5A335348}" name="Ester Zitnanska" initials="EZ" userId="S::Ester.ZITNANSKA@rb.cz::ed7e0945-a0e8-4716-9b2e-0923e441c806" providerId="AD"/>
  <p188:author id="{ACE584D7-BC18-5BD8-AC59-ACB07A4EA03C}" name="Tereza Krcek" initials="TK" userId="S::tereza.krcek@rb.cz::3b362cb5-546d-4fd3-b388-335327fc78b2" providerId="AD"/>
  <p188:author id="{1A8BDDE7-6707-C309-611F-9C22C8C8CD7C}" name="TEREZA ONDROUSKOVA" initials="TO" userId="S::tereza.ondrouskova@rb.cz::70edcf45-d502-4fee-9152-50b7105ae270" providerId="AD"/>
  <p188:author id="{ABD8C3FA-906E-B6D8-4A5D-F2DA81196EDE}" name="Dana Fajmonova 2" initials="D2" userId="S::dana.fajmonova@rb.cz::2d84c075-a641-4b0f-b1e1-ac8cc128aed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D0AB"/>
    <a:srgbClr val="FEE600"/>
    <a:srgbClr val="F8F6F2"/>
    <a:srgbClr val="FFFACC"/>
    <a:srgbClr val="E1DBEF"/>
    <a:srgbClr val="E0D7C8"/>
    <a:srgbClr val="E8E9EC"/>
    <a:srgbClr val="FFE8E1"/>
    <a:srgbClr val="F9BB30"/>
    <a:srgbClr val="FF9C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3" d="100"/>
          <a:sy n="93" d="100"/>
        </p:scale>
        <p:origin x="520" y="56"/>
      </p:cViewPr>
      <p:guideLst>
        <p:guide orient="horz" pos="599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0" y="4"/>
            <a:ext cx="2945659" cy="496332"/>
          </a:xfrm>
          <a:prstGeom prst="rect">
            <a:avLst/>
          </a:prstGeom>
        </p:spPr>
        <p:txBody>
          <a:bodyPr vert="horz" lIns="90314" tIns="45157" rIns="90314" bIns="45157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850453" y="4"/>
            <a:ext cx="2945659" cy="496332"/>
          </a:xfrm>
          <a:prstGeom prst="rect">
            <a:avLst/>
          </a:prstGeom>
        </p:spPr>
        <p:txBody>
          <a:bodyPr vert="horz" lIns="90314" tIns="45157" rIns="90314" bIns="45157" rtlCol="0"/>
          <a:lstStyle>
            <a:lvl1pPr algn="r">
              <a:defRPr sz="1200"/>
            </a:lvl1pPr>
          </a:lstStyle>
          <a:p>
            <a:fld id="{312F97D1-DF6D-4302-B991-7C2C00D4736A}" type="datetimeFigureOut">
              <a:rPr lang="cs-CZ" smtClean="0"/>
              <a:pPr/>
              <a:t>11.06.2025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0" y="9428590"/>
            <a:ext cx="2945659" cy="496332"/>
          </a:xfrm>
          <a:prstGeom prst="rect">
            <a:avLst/>
          </a:prstGeom>
        </p:spPr>
        <p:txBody>
          <a:bodyPr vert="horz" lIns="90314" tIns="45157" rIns="90314" bIns="45157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850453" y="9428590"/>
            <a:ext cx="2945659" cy="496332"/>
          </a:xfrm>
          <a:prstGeom prst="rect">
            <a:avLst/>
          </a:prstGeom>
        </p:spPr>
        <p:txBody>
          <a:bodyPr vert="horz" lIns="90314" tIns="45157" rIns="90314" bIns="45157" rtlCol="0" anchor="b"/>
          <a:lstStyle>
            <a:lvl1pPr algn="r">
              <a:defRPr sz="1200"/>
            </a:lvl1pPr>
          </a:lstStyle>
          <a:p>
            <a:fld id="{955DD555-0A73-4BAE-A2C9-92EC6EA1559B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368380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0" y="4"/>
            <a:ext cx="2945659" cy="496332"/>
          </a:xfrm>
          <a:prstGeom prst="rect">
            <a:avLst/>
          </a:prstGeom>
        </p:spPr>
        <p:txBody>
          <a:bodyPr vert="horz" lIns="90314" tIns="45157" rIns="90314" bIns="45157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50453" y="4"/>
            <a:ext cx="2945659" cy="496332"/>
          </a:xfrm>
          <a:prstGeom prst="rect">
            <a:avLst/>
          </a:prstGeom>
        </p:spPr>
        <p:txBody>
          <a:bodyPr vert="horz" lIns="90314" tIns="45157" rIns="90314" bIns="45157" rtlCol="0"/>
          <a:lstStyle>
            <a:lvl1pPr algn="r">
              <a:defRPr sz="1200"/>
            </a:lvl1pPr>
          </a:lstStyle>
          <a:p>
            <a:fld id="{13292C8A-CF8C-4532-A877-A3F0628B068A}" type="datetimeFigureOut">
              <a:rPr lang="cs-CZ" smtClean="0"/>
              <a:pPr/>
              <a:t>11.06.2025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14" tIns="45157" rIns="90314" bIns="45157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768" y="4715161"/>
            <a:ext cx="5438140" cy="4466987"/>
          </a:xfrm>
          <a:prstGeom prst="rect">
            <a:avLst/>
          </a:prstGeom>
        </p:spPr>
        <p:txBody>
          <a:bodyPr vert="horz" lIns="90314" tIns="45157" rIns="90314" bIns="45157" rtlCol="0">
            <a:normAutofit/>
          </a:bodyPr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10" y="9428590"/>
            <a:ext cx="2945659" cy="496332"/>
          </a:xfrm>
          <a:prstGeom prst="rect">
            <a:avLst/>
          </a:prstGeom>
        </p:spPr>
        <p:txBody>
          <a:bodyPr vert="horz" lIns="90314" tIns="45157" rIns="90314" bIns="45157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50453" y="9428590"/>
            <a:ext cx="2945659" cy="496332"/>
          </a:xfrm>
          <a:prstGeom prst="rect">
            <a:avLst/>
          </a:prstGeom>
        </p:spPr>
        <p:txBody>
          <a:bodyPr vert="horz" lIns="90314" tIns="45157" rIns="90314" bIns="45157" rtlCol="0" anchor="b"/>
          <a:lstStyle>
            <a:lvl1pPr algn="r">
              <a:defRPr sz="1200"/>
            </a:lvl1pPr>
          </a:lstStyle>
          <a:p>
            <a:fld id="{849B5C6E-9187-426E-90DE-B6840C2CEB62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48071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>
            <a:extLst>
              <a:ext uri="{FF2B5EF4-FFF2-40B4-BE49-F238E27FC236}">
                <a16:creationId xmlns:a16="http://schemas.microsoft.com/office/drawing/2014/main" id="{1CDBDFE0-F6BE-4505-5501-D1704EE197C0}"/>
              </a:ext>
            </a:extLst>
          </p:cNvPr>
          <p:cNvSpPr/>
          <p:nvPr userDrawn="1"/>
        </p:nvSpPr>
        <p:spPr>
          <a:xfrm>
            <a:off x="2628290" y="556782"/>
            <a:ext cx="3588587" cy="4586718"/>
          </a:xfrm>
          <a:custGeom>
            <a:avLst/>
            <a:gdLst>
              <a:gd name="connsiteX0" fmla="*/ 890402 w 3920791"/>
              <a:gd name="connsiteY0" fmla="*/ 79 h 5011176"/>
              <a:gd name="connsiteX1" fmla="*/ 1296848 w 3920791"/>
              <a:gd name="connsiteY1" fmla="*/ 178245 h 5011176"/>
              <a:gd name="connsiteX2" fmla="*/ 3920791 w 3920791"/>
              <a:gd name="connsiteY2" fmla="*/ 2793425 h 5011176"/>
              <a:gd name="connsiteX3" fmla="*/ 1703038 w 3920791"/>
              <a:gd name="connsiteY3" fmla="*/ 5011176 h 5011176"/>
              <a:gd name="connsiteX4" fmla="*/ 0 w 3920791"/>
              <a:gd name="connsiteY4" fmla="*/ 5011176 h 5011176"/>
              <a:gd name="connsiteX5" fmla="*/ 2202835 w 3920791"/>
              <a:gd name="connsiteY5" fmla="*/ 2798191 h 5011176"/>
              <a:gd name="connsiteX6" fmla="*/ 4577 w 3920791"/>
              <a:gd name="connsiteY6" fmla="*/ 593181 h 5011176"/>
              <a:gd name="connsiteX7" fmla="*/ 439243 w 3920791"/>
              <a:gd name="connsiteY7" fmla="*/ 161008 h 5011176"/>
              <a:gd name="connsiteX8" fmla="*/ 890402 w 3920791"/>
              <a:gd name="connsiteY8" fmla="*/ 79 h 5011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20791" h="5011176">
                <a:moveTo>
                  <a:pt x="890402" y="79"/>
                </a:moveTo>
                <a:cubicBezTo>
                  <a:pt x="1082295" y="2952"/>
                  <a:pt x="1194521" y="97494"/>
                  <a:pt x="1296848" y="178245"/>
                </a:cubicBezTo>
                <a:lnTo>
                  <a:pt x="3920791" y="2793425"/>
                </a:lnTo>
                <a:lnTo>
                  <a:pt x="1703038" y="5011176"/>
                </a:lnTo>
                <a:lnTo>
                  <a:pt x="0" y="5011176"/>
                </a:lnTo>
                <a:lnTo>
                  <a:pt x="2202835" y="2798191"/>
                </a:lnTo>
                <a:lnTo>
                  <a:pt x="4577" y="593181"/>
                </a:lnTo>
                <a:lnTo>
                  <a:pt x="439243" y="161008"/>
                </a:lnTo>
                <a:cubicBezTo>
                  <a:pt x="531197" y="73914"/>
                  <a:pt x="698509" y="-2794"/>
                  <a:pt x="890402" y="79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759432" y="2585820"/>
            <a:ext cx="4676439" cy="332322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defRPr sz="2399" b="1" spc="-22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757681" y="3286508"/>
            <a:ext cx="3765994" cy="168829"/>
          </a:xfrm>
        </p:spPr>
        <p:txBody>
          <a:bodyPr wrap="square">
            <a:spAutoFit/>
          </a:bodyPr>
          <a:lstStyle>
            <a:lvl1pPr marL="0" marR="0" indent="0" algn="l" defTabSz="816364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59087" y="4648103"/>
            <a:ext cx="3908707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rtl="0" fontAlgn="base">
              <a:lnSpc>
                <a:spcPct val="100000"/>
              </a:lnSpc>
              <a:spcBef>
                <a:spcPts val="0"/>
              </a:spcBef>
              <a:spcAft>
                <a:spcPts val="37"/>
              </a:spcAft>
            </a:pPr>
            <a:r>
              <a:rPr lang="en-US" sz="600" b="0">
                <a:solidFill>
                  <a:schemeClr val="tx2"/>
                </a:solidFill>
                <a:latin typeface="Amalia Medium" pitchFamily="34" charset="0"/>
                <a:ea typeface="+mn-ea"/>
                <a:cs typeface="+mn-cs"/>
              </a:rPr>
              <a:t>Confidential and proprietary</a:t>
            </a:r>
          </a:p>
          <a:p>
            <a:pPr lvl="0" algn="l" rtl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600" b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ny use of this material without specific permission of Raiffeisen Bank is strictly prohibited,</a:t>
            </a:r>
            <a:endParaRPr lang="en-GB" sz="600" b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Freeform 9"/>
          <p:cNvSpPr/>
          <p:nvPr userDrawn="1"/>
        </p:nvSpPr>
        <p:spPr>
          <a:xfrm flipH="1">
            <a:off x="6621242" y="961764"/>
            <a:ext cx="1138746" cy="1627061"/>
          </a:xfrm>
          <a:custGeom>
            <a:avLst/>
            <a:gdLst>
              <a:gd name="connsiteX0" fmla="*/ 0 w 3498574"/>
              <a:gd name="connsiteY0" fmla="*/ 533873 h 5009322"/>
              <a:gd name="connsiteX1" fmla="*/ 1965108 w 3498574"/>
              <a:gd name="connsiteY1" fmla="*/ 2498981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53550 w 3498574"/>
              <a:gd name="connsiteY1" fmla="*/ 2482688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41992 w 3498574"/>
              <a:gd name="connsiteY1" fmla="*/ 2497200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465050 w 3509263"/>
              <a:gd name="connsiteY9" fmla="*/ 102231 h 5009322"/>
              <a:gd name="connsiteX10" fmla="*/ 0 w 3509263"/>
              <a:gd name="connsiteY10" fmla="*/ 538314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397553 w 3509263"/>
              <a:gd name="connsiteY9" fmla="*/ 157556 h 5009322"/>
              <a:gd name="connsiteX10" fmla="*/ 0 w 3509263"/>
              <a:gd name="connsiteY10" fmla="*/ 538314 h 5009322"/>
              <a:gd name="connsiteX0" fmla="*/ 0 w 3509263"/>
              <a:gd name="connsiteY0" fmla="*/ 865832 h 5336840"/>
              <a:gd name="connsiteX1" fmla="*/ 1952681 w 3509263"/>
              <a:gd name="connsiteY1" fmla="*/ 2824718 h 5336840"/>
              <a:gd name="connsiteX2" fmla="*/ 10689 w 3509263"/>
              <a:gd name="connsiteY2" fmla="*/ 4791607 h 5336840"/>
              <a:gd name="connsiteX3" fmla="*/ 430973 w 3509263"/>
              <a:gd name="connsiteY3" fmla="*/ 5234609 h 5336840"/>
              <a:gd name="connsiteX4" fmla="*/ 771743 w 3509263"/>
              <a:gd name="connsiteY4" fmla="*/ 5336840 h 5336840"/>
              <a:gd name="connsiteX5" fmla="*/ 1135231 w 3509263"/>
              <a:gd name="connsiteY5" fmla="*/ 5211891 h 5336840"/>
              <a:gd name="connsiteX6" fmla="*/ 3509263 w 3509263"/>
              <a:gd name="connsiteY6" fmla="*/ 2837858 h 5336840"/>
              <a:gd name="connsiteX7" fmla="*/ 1078436 w 3509263"/>
              <a:gd name="connsiteY7" fmla="*/ 418390 h 5336840"/>
              <a:gd name="connsiteX8" fmla="*/ 737666 w 3509263"/>
              <a:gd name="connsiteY8" fmla="*/ 327518 h 5336840"/>
              <a:gd name="connsiteX9" fmla="*/ 397553 w 3509263"/>
              <a:gd name="connsiteY9" fmla="*/ 485074 h 5336840"/>
              <a:gd name="connsiteX10" fmla="*/ 0 w 3509263"/>
              <a:gd name="connsiteY10" fmla="*/ 865832 h 5336840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2840 h 5013848"/>
              <a:gd name="connsiteX1" fmla="*/ 1952681 w 3509263"/>
              <a:gd name="connsiteY1" fmla="*/ 2501726 h 5013848"/>
              <a:gd name="connsiteX2" fmla="*/ 10689 w 3509263"/>
              <a:gd name="connsiteY2" fmla="*/ 4468615 h 5013848"/>
              <a:gd name="connsiteX3" fmla="*/ 430973 w 3509263"/>
              <a:gd name="connsiteY3" fmla="*/ 4911617 h 5013848"/>
              <a:gd name="connsiteX4" fmla="*/ 771743 w 3509263"/>
              <a:gd name="connsiteY4" fmla="*/ 5013848 h 5013848"/>
              <a:gd name="connsiteX5" fmla="*/ 1135231 w 3509263"/>
              <a:gd name="connsiteY5" fmla="*/ 4888899 h 5013848"/>
              <a:gd name="connsiteX6" fmla="*/ 3509263 w 3509263"/>
              <a:gd name="connsiteY6" fmla="*/ 2514866 h 5013848"/>
              <a:gd name="connsiteX7" fmla="*/ 1117296 w 3509263"/>
              <a:gd name="connsiteY7" fmla="*/ 134923 h 5013848"/>
              <a:gd name="connsiteX8" fmla="*/ 737666 w 3509263"/>
              <a:gd name="connsiteY8" fmla="*/ 4526 h 5013848"/>
              <a:gd name="connsiteX9" fmla="*/ 397553 w 3509263"/>
              <a:gd name="connsiteY9" fmla="*/ 162082 h 5013848"/>
              <a:gd name="connsiteX10" fmla="*/ 0 w 3509263"/>
              <a:gd name="connsiteY10" fmla="*/ 542840 h 5013848"/>
              <a:gd name="connsiteX0" fmla="*/ 0 w 3509263"/>
              <a:gd name="connsiteY0" fmla="*/ 526104 h 4997112"/>
              <a:gd name="connsiteX1" fmla="*/ 1952681 w 3509263"/>
              <a:gd name="connsiteY1" fmla="*/ 2484990 h 4997112"/>
              <a:gd name="connsiteX2" fmla="*/ 10689 w 3509263"/>
              <a:gd name="connsiteY2" fmla="*/ 4451879 h 4997112"/>
              <a:gd name="connsiteX3" fmla="*/ 430973 w 3509263"/>
              <a:gd name="connsiteY3" fmla="*/ 4894881 h 4997112"/>
              <a:gd name="connsiteX4" fmla="*/ 771743 w 3509263"/>
              <a:gd name="connsiteY4" fmla="*/ 4997112 h 4997112"/>
              <a:gd name="connsiteX5" fmla="*/ 1135231 w 3509263"/>
              <a:gd name="connsiteY5" fmla="*/ 4872163 h 4997112"/>
              <a:gd name="connsiteX6" fmla="*/ 3509263 w 3509263"/>
              <a:gd name="connsiteY6" fmla="*/ 2498130 h 4997112"/>
              <a:gd name="connsiteX7" fmla="*/ 1117296 w 3509263"/>
              <a:gd name="connsiteY7" fmla="*/ 118187 h 4997112"/>
              <a:gd name="connsiteX8" fmla="*/ 753426 w 3509263"/>
              <a:gd name="connsiteY8" fmla="*/ 4526 h 4997112"/>
              <a:gd name="connsiteX9" fmla="*/ 397553 w 3509263"/>
              <a:gd name="connsiteY9" fmla="*/ 145346 h 4997112"/>
              <a:gd name="connsiteX10" fmla="*/ 0 w 3509263"/>
              <a:gd name="connsiteY10" fmla="*/ 526104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64742 w 3500203"/>
              <a:gd name="connsiteY1" fmla="*/ 25023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5110 w 3505313"/>
              <a:gd name="connsiteY0" fmla="*/ 531610 h 4997112"/>
              <a:gd name="connsiteX1" fmla="*/ 1969852 w 3505313"/>
              <a:gd name="connsiteY1" fmla="*/ 2502390 h 4997112"/>
              <a:gd name="connsiteX2" fmla="*/ 0 w 3505313"/>
              <a:gd name="connsiteY2" fmla="*/ 4481321 h 4997112"/>
              <a:gd name="connsiteX3" fmla="*/ 427023 w 3505313"/>
              <a:gd name="connsiteY3" fmla="*/ 4894881 h 4997112"/>
              <a:gd name="connsiteX4" fmla="*/ 767793 w 3505313"/>
              <a:gd name="connsiteY4" fmla="*/ 4997112 h 4997112"/>
              <a:gd name="connsiteX5" fmla="*/ 1131281 w 3505313"/>
              <a:gd name="connsiteY5" fmla="*/ 4872163 h 4997112"/>
              <a:gd name="connsiteX6" fmla="*/ 3505313 w 3505313"/>
              <a:gd name="connsiteY6" fmla="*/ 2498130 h 4997112"/>
              <a:gd name="connsiteX7" fmla="*/ 1113346 w 3505313"/>
              <a:gd name="connsiteY7" fmla="*/ 118187 h 4997112"/>
              <a:gd name="connsiteX8" fmla="*/ 749476 w 3505313"/>
              <a:gd name="connsiteY8" fmla="*/ 4526 h 4997112"/>
              <a:gd name="connsiteX9" fmla="*/ 393603 w 3505313"/>
              <a:gd name="connsiteY9" fmla="*/ 145346 h 4997112"/>
              <a:gd name="connsiteX10" fmla="*/ 5110 w 3505313"/>
              <a:gd name="connsiteY10" fmla="*/ 531610 h 4997112"/>
              <a:gd name="connsiteX0" fmla="*/ 5110 w 3505313"/>
              <a:gd name="connsiteY0" fmla="*/ 531610 h 5288660"/>
              <a:gd name="connsiteX1" fmla="*/ 1969852 w 3505313"/>
              <a:gd name="connsiteY1" fmla="*/ 2502390 h 5288660"/>
              <a:gd name="connsiteX2" fmla="*/ 0 w 3505313"/>
              <a:gd name="connsiteY2" fmla="*/ 4481321 h 5288660"/>
              <a:gd name="connsiteX3" fmla="*/ 427023 w 3505313"/>
              <a:gd name="connsiteY3" fmla="*/ 4894881 h 5288660"/>
              <a:gd name="connsiteX4" fmla="*/ 767793 w 3505313"/>
              <a:gd name="connsiteY4" fmla="*/ 4997112 h 5288660"/>
              <a:gd name="connsiteX5" fmla="*/ 1131281 w 3505313"/>
              <a:gd name="connsiteY5" fmla="*/ 4872163 h 5288660"/>
              <a:gd name="connsiteX6" fmla="*/ 3505313 w 3505313"/>
              <a:gd name="connsiteY6" fmla="*/ 2498130 h 5288660"/>
              <a:gd name="connsiteX7" fmla="*/ 1113346 w 3505313"/>
              <a:gd name="connsiteY7" fmla="*/ 118187 h 5288660"/>
              <a:gd name="connsiteX8" fmla="*/ 749476 w 3505313"/>
              <a:gd name="connsiteY8" fmla="*/ 4526 h 5288660"/>
              <a:gd name="connsiteX9" fmla="*/ 393603 w 3505313"/>
              <a:gd name="connsiteY9" fmla="*/ 145346 h 5288660"/>
              <a:gd name="connsiteX10" fmla="*/ 5110 w 3505313"/>
              <a:gd name="connsiteY10" fmla="*/ 531610 h 5288660"/>
              <a:gd name="connsiteX0" fmla="*/ 5110 w 3505313"/>
              <a:gd name="connsiteY0" fmla="*/ 531610 h 5000898"/>
              <a:gd name="connsiteX1" fmla="*/ 1969852 w 3505313"/>
              <a:gd name="connsiteY1" fmla="*/ 2502390 h 5000898"/>
              <a:gd name="connsiteX2" fmla="*/ 0 w 3505313"/>
              <a:gd name="connsiteY2" fmla="*/ 4481321 h 5000898"/>
              <a:gd name="connsiteX3" fmla="*/ 427023 w 3505313"/>
              <a:gd name="connsiteY3" fmla="*/ 4894881 h 5000898"/>
              <a:gd name="connsiteX4" fmla="*/ 767793 w 3505313"/>
              <a:gd name="connsiteY4" fmla="*/ 4997112 h 5000898"/>
              <a:gd name="connsiteX5" fmla="*/ 1131281 w 3505313"/>
              <a:gd name="connsiteY5" fmla="*/ 4872163 h 5000898"/>
              <a:gd name="connsiteX6" fmla="*/ 3505313 w 3505313"/>
              <a:gd name="connsiteY6" fmla="*/ 2498130 h 5000898"/>
              <a:gd name="connsiteX7" fmla="*/ 1113346 w 3505313"/>
              <a:gd name="connsiteY7" fmla="*/ 118187 h 5000898"/>
              <a:gd name="connsiteX8" fmla="*/ 749476 w 3505313"/>
              <a:gd name="connsiteY8" fmla="*/ 4526 h 5000898"/>
              <a:gd name="connsiteX9" fmla="*/ 393603 w 3505313"/>
              <a:gd name="connsiteY9" fmla="*/ 145346 h 5000898"/>
              <a:gd name="connsiteX10" fmla="*/ 5110 w 3505313"/>
              <a:gd name="connsiteY10" fmla="*/ 531610 h 5000898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29652 h 5005303"/>
              <a:gd name="connsiteX1" fmla="*/ 1969852 w 3505313"/>
              <a:gd name="connsiteY1" fmla="*/ 2500432 h 5005303"/>
              <a:gd name="connsiteX2" fmla="*/ 0 w 3505313"/>
              <a:gd name="connsiteY2" fmla="*/ 4479363 h 5005303"/>
              <a:gd name="connsiteX3" fmla="*/ 427023 w 3505313"/>
              <a:gd name="connsiteY3" fmla="*/ 4892923 h 5005303"/>
              <a:gd name="connsiteX4" fmla="*/ 787503 w 3505313"/>
              <a:gd name="connsiteY4" fmla="*/ 5001517 h 5005303"/>
              <a:gd name="connsiteX5" fmla="*/ 1131281 w 3505313"/>
              <a:gd name="connsiteY5" fmla="*/ 4870205 h 5005303"/>
              <a:gd name="connsiteX6" fmla="*/ 3505313 w 3505313"/>
              <a:gd name="connsiteY6" fmla="*/ 2496172 h 5005303"/>
              <a:gd name="connsiteX7" fmla="*/ 1160106 w 3505313"/>
              <a:gd name="connsiteY7" fmla="*/ 158794 h 5005303"/>
              <a:gd name="connsiteX8" fmla="*/ 749476 w 3505313"/>
              <a:gd name="connsiteY8" fmla="*/ 2568 h 5005303"/>
              <a:gd name="connsiteX9" fmla="*/ 393603 w 3505313"/>
              <a:gd name="connsiteY9" fmla="*/ 143388 h 5005303"/>
              <a:gd name="connsiteX10" fmla="*/ 5110 w 3505313"/>
              <a:gd name="connsiteY10" fmla="*/ 529652 h 5005303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416 h 5008067"/>
              <a:gd name="connsiteX1" fmla="*/ 1969852 w 3505313"/>
              <a:gd name="connsiteY1" fmla="*/ 2503196 h 5008067"/>
              <a:gd name="connsiteX2" fmla="*/ 0 w 3505313"/>
              <a:gd name="connsiteY2" fmla="*/ 4482127 h 5008067"/>
              <a:gd name="connsiteX3" fmla="*/ 427023 w 3505313"/>
              <a:gd name="connsiteY3" fmla="*/ 4895687 h 5008067"/>
              <a:gd name="connsiteX4" fmla="*/ 787503 w 3505313"/>
              <a:gd name="connsiteY4" fmla="*/ 5004281 h 5008067"/>
              <a:gd name="connsiteX5" fmla="*/ 1131281 w 3505313"/>
              <a:gd name="connsiteY5" fmla="*/ 4872969 h 5008067"/>
              <a:gd name="connsiteX6" fmla="*/ 3505313 w 3505313"/>
              <a:gd name="connsiteY6" fmla="*/ 2498936 h 5008067"/>
              <a:gd name="connsiteX7" fmla="*/ 1160106 w 3505313"/>
              <a:gd name="connsiteY7" fmla="*/ 161558 h 5008067"/>
              <a:gd name="connsiteX8" fmla="*/ 796836 w 3505313"/>
              <a:gd name="connsiteY8" fmla="*/ 2318 h 5008067"/>
              <a:gd name="connsiteX9" fmla="*/ 393603 w 3505313"/>
              <a:gd name="connsiteY9" fmla="*/ 146152 h 5008067"/>
              <a:gd name="connsiteX10" fmla="*/ 5110 w 3505313"/>
              <a:gd name="connsiteY10" fmla="*/ 532416 h 500806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05313" h="5008317">
                <a:moveTo>
                  <a:pt x="5110" y="532666"/>
                </a:moveTo>
                <a:lnTo>
                  <a:pt x="1969852" y="2503446"/>
                </a:lnTo>
                <a:lnTo>
                  <a:pt x="0" y="4482377"/>
                </a:lnTo>
                <a:lnTo>
                  <a:pt x="427023" y="4895937"/>
                </a:lnTo>
                <a:cubicBezTo>
                  <a:pt x="510281" y="4969426"/>
                  <a:pt x="670127" y="5008317"/>
                  <a:pt x="787503" y="5004531"/>
                </a:cubicBezTo>
                <a:cubicBezTo>
                  <a:pt x="904879" y="5000745"/>
                  <a:pt x="1004011" y="4978861"/>
                  <a:pt x="1131281" y="4873219"/>
                </a:cubicBezTo>
                <a:lnTo>
                  <a:pt x="3505313" y="2499186"/>
                </a:lnTo>
                <a:lnTo>
                  <a:pt x="1160106" y="161808"/>
                </a:lnTo>
                <a:cubicBezTo>
                  <a:pt x="1068649" y="89635"/>
                  <a:pt x="968345" y="5136"/>
                  <a:pt x="796836" y="2568"/>
                </a:cubicBezTo>
                <a:cubicBezTo>
                  <a:pt x="625327" y="0"/>
                  <a:pt x="475789" y="68559"/>
                  <a:pt x="393603" y="146402"/>
                </a:cubicBezTo>
                <a:lnTo>
                  <a:pt x="5110" y="532666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 descr="BlackLogo.png">
            <a:extLst>
              <a:ext uri="{FF2B5EF4-FFF2-40B4-BE49-F238E27FC236}">
                <a16:creationId xmlns:a16="http://schemas.microsoft.com/office/drawing/2014/main" id="{26E1E3E9-5EF1-D01A-BE86-BFED1E8DD2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52645" y="196036"/>
            <a:ext cx="994827" cy="250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9022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>
            <a:extLst>
              <a:ext uri="{FF2B5EF4-FFF2-40B4-BE49-F238E27FC236}">
                <a16:creationId xmlns:a16="http://schemas.microsoft.com/office/drawing/2014/main" id="{1CDBDFE0-F6BE-4505-5501-D1704EE197C0}"/>
              </a:ext>
            </a:extLst>
          </p:cNvPr>
          <p:cNvSpPr/>
          <p:nvPr userDrawn="1"/>
        </p:nvSpPr>
        <p:spPr>
          <a:xfrm>
            <a:off x="2628290" y="556782"/>
            <a:ext cx="3588587" cy="4586718"/>
          </a:xfrm>
          <a:custGeom>
            <a:avLst/>
            <a:gdLst>
              <a:gd name="connsiteX0" fmla="*/ 890402 w 3920791"/>
              <a:gd name="connsiteY0" fmla="*/ 79 h 5011176"/>
              <a:gd name="connsiteX1" fmla="*/ 1296848 w 3920791"/>
              <a:gd name="connsiteY1" fmla="*/ 178245 h 5011176"/>
              <a:gd name="connsiteX2" fmla="*/ 3920791 w 3920791"/>
              <a:gd name="connsiteY2" fmla="*/ 2793425 h 5011176"/>
              <a:gd name="connsiteX3" fmla="*/ 1703038 w 3920791"/>
              <a:gd name="connsiteY3" fmla="*/ 5011176 h 5011176"/>
              <a:gd name="connsiteX4" fmla="*/ 0 w 3920791"/>
              <a:gd name="connsiteY4" fmla="*/ 5011176 h 5011176"/>
              <a:gd name="connsiteX5" fmla="*/ 2202835 w 3920791"/>
              <a:gd name="connsiteY5" fmla="*/ 2798191 h 5011176"/>
              <a:gd name="connsiteX6" fmla="*/ 4577 w 3920791"/>
              <a:gd name="connsiteY6" fmla="*/ 593181 h 5011176"/>
              <a:gd name="connsiteX7" fmla="*/ 439243 w 3920791"/>
              <a:gd name="connsiteY7" fmla="*/ 161008 h 5011176"/>
              <a:gd name="connsiteX8" fmla="*/ 890402 w 3920791"/>
              <a:gd name="connsiteY8" fmla="*/ 79 h 5011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20791" h="5011176">
                <a:moveTo>
                  <a:pt x="890402" y="79"/>
                </a:moveTo>
                <a:cubicBezTo>
                  <a:pt x="1082295" y="2952"/>
                  <a:pt x="1194521" y="97494"/>
                  <a:pt x="1296848" y="178245"/>
                </a:cubicBezTo>
                <a:lnTo>
                  <a:pt x="3920791" y="2793425"/>
                </a:lnTo>
                <a:lnTo>
                  <a:pt x="1703038" y="5011176"/>
                </a:lnTo>
                <a:lnTo>
                  <a:pt x="0" y="5011176"/>
                </a:lnTo>
                <a:lnTo>
                  <a:pt x="2202835" y="2798191"/>
                </a:lnTo>
                <a:lnTo>
                  <a:pt x="4577" y="593181"/>
                </a:lnTo>
                <a:lnTo>
                  <a:pt x="439243" y="161008"/>
                </a:lnTo>
                <a:cubicBezTo>
                  <a:pt x="531197" y="73914"/>
                  <a:pt x="698509" y="-2794"/>
                  <a:pt x="890402" y="79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35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759432" y="2585820"/>
            <a:ext cx="4676439" cy="332322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defRPr sz="2399" b="1" spc="-22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757681" y="3286508"/>
            <a:ext cx="3765994" cy="166392"/>
          </a:xfrm>
        </p:spPr>
        <p:txBody>
          <a:bodyPr wrap="square">
            <a:spAutoFit/>
          </a:bodyPr>
          <a:lstStyle>
            <a:lvl1pPr marL="0" marR="0" indent="0" algn="l" defTabSz="816364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59087" y="4648103"/>
            <a:ext cx="3908707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rtl="0" fontAlgn="base">
              <a:lnSpc>
                <a:spcPct val="100000"/>
              </a:lnSpc>
              <a:spcBef>
                <a:spcPts val="0"/>
              </a:spcBef>
              <a:spcAft>
                <a:spcPts val="37"/>
              </a:spcAft>
            </a:pPr>
            <a:r>
              <a:rPr lang="en-US" sz="600" b="0">
                <a:solidFill>
                  <a:schemeClr val="tx2"/>
                </a:solidFill>
                <a:latin typeface="Amalia Medium" pitchFamily="34" charset="0"/>
                <a:ea typeface="+mn-ea"/>
                <a:cs typeface="+mn-cs"/>
              </a:rPr>
              <a:t>Confidential and proprietary</a:t>
            </a:r>
          </a:p>
          <a:p>
            <a:pPr lvl="0" algn="l" rtl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600" b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ny use of this material without specific permission of Raiffeisen Bank is strictly prohibited,</a:t>
            </a:r>
            <a:endParaRPr lang="en-GB" sz="600" b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Freeform 9"/>
          <p:cNvSpPr/>
          <p:nvPr userDrawn="1"/>
        </p:nvSpPr>
        <p:spPr>
          <a:xfrm flipH="1">
            <a:off x="6621242" y="961764"/>
            <a:ext cx="1138746" cy="1627061"/>
          </a:xfrm>
          <a:custGeom>
            <a:avLst/>
            <a:gdLst>
              <a:gd name="connsiteX0" fmla="*/ 0 w 3498574"/>
              <a:gd name="connsiteY0" fmla="*/ 533873 h 5009322"/>
              <a:gd name="connsiteX1" fmla="*/ 1965108 w 3498574"/>
              <a:gd name="connsiteY1" fmla="*/ 2498981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53550 w 3498574"/>
              <a:gd name="connsiteY1" fmla="*/ 2482688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41992 w 3498574"/>
              <a:gd name="connsiteY1" fmla="*/ 2497200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465050 w 3509263"/>
              <a:gd name="connsiteY9" fmla="*/ 102231 h 5009322"/>
              <a:gd name="connsiteX10" fmla="*/ 0 w 3509263"/>
              <a:gd name="connsiteY10" fmla="*/ 538314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397553 w 3509263"/>
              <a:gd name="connsiteY9" fmla="*/ 157556 h 5009322"/>
              <a:gd name="connsiteX10" fmla="*/ 0 w 3509263"/>
              <a:gd name="connsiteY10" fmla="*/ 538314 h 5009322"/>
              <a:gd name="connsiteX0" fmla="*/ 0 w 3509263"/>
              <a:gd name="connsiteY0" fmla="*/ 865832 h 5336840"/>
              <a:gd name="connsiteX1" fmla="*/ 1952681 w 3509263"/>
              <a:gd name="connsiteY1" fmla="*/ 2824718 h 5336840"/>
              <a:gd name="connsiteX2" fmla="*/ 10689 w 3509263"/>
              <a:gd name="connsiteY2" fmla="*/ 4791607 h 5336840"/>
              <a:gd name="connsiteX3" fmla="*/ 430973 w 3509263"/>
              <a:gd name="connsiteY3" fmla="*/ 5234609 h 5336840"/>
              <a:gd name="connsiteX4" fmla="*/ 771743 w 3509263"/>
              <a:gd name="connsiteY4" fmla="*/ 5336840 h 5336840"/>
              <a:gd name="connsiteX5" fmla="*/ 1135231 w 3509263"/>
              <a:gd name="connsiteY5" fmla="*/ 5211891 h 5336840"/>
              <a:gd name="connsiteX6" fmla="*/ 3509263 w 3509263"/>
              <a:gd name="connsiteY6" fmla="*/ 2837858 h 5336840"/>
              <a:gd name="connsiteX7" fmla="*/ 1078436 w 3509263"/>
              <a:gd name="connsiteY7" fmla="*/ 418390 h 5336840"/>
              <a:gd name="connsiteX8" fmla="*/ 737666 w 3509263"/>
              <a:gd name="connsiteY8" fmla="*/ 327518 h 5336840"/>
              <a:gd name="connsiteX9" fmla="*/ 397553 w 3509263"/>
              <a:gd name="connsiteY9" fmla="*/ 485074 h 5336840"/>
              <a:gd name="connsiteX10" fmla="*/ 0 w 3509263"/>
              <a:gd name="connsiteY10" fmla="*/ 865832 h 5336840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2840 h 5013848"/>
              <a:gd name="connsiteX1" fmla="*/ 1952681 w 3509263"/>
              <a:gd name="connsiteY1" fmla="*/ 2501726 h 5013848"/>
              <a:gd name="connsiteX2" fmla="*/ 10689 w 3509263"/>
              <a:gd name="connsiteY2" fmla="*/ 4468615 h 5013848"/>
              <a:gd name="connsiteX3" fmla="*/ 430973 w 3509263"/>
              <a:gd name="connsiteY3" fmla="*/ 4911617 h 5013848"/>
              <a:gd name="connsiteX4" fmla="*/ 771743 w 3509263"/>
              <a:gd name="connsiteY4" fmla="*/ 5013848 h 5013848"/>
              <a:gd name="connsiteX5" fmla="*/ 1135231 w 3509263"/>
              <a:gd name="connsiteY5" fmla="*/ 4888899 h 5013848"/>
              <a:gd name="connsiteX6" fmla="*/ 3509263 w 3509263"/>
              <a:gd name="connsiteY6" fmla="*/ 2514866 h 5013848"/>
              <a:gd name="connsiteX7" fmla="*/ 1117296 w 3509263"/>
              <a:gd name="connsiteY7" fmla="*/ 134923 h 5013848"/>
              <a:gd name="connsiteX8" fmla="*/ 737666 w 3509263"/>
              <a:gd name="connsiteY8" fmla="*/ 4526 h 5013848"/>
              <a:gd name="connsiteX9" fmla="*/ 397553 w 3509263"/>
              <a:gd name="connsiteY9" fmla="*/ 162082 h 5013848"/>
              <a:gd name="connsiteX10" fmla="*/ 0 w 3509263"/>
              <a:gd name="connsiteY10" fmla="*/ 542840 h 5013848"/>
              <a:gd name="connsiteX0" fmla="*/ 0 w 3509263"/>
              <a:gd name="connsiteY0" fmla="*/ 526104 h 4997112"/>
              <a:gd name="connsiteX1" fmla="*/ 1952681 w 3509263"/>
              <a:gd name="connsiteY1" fmla="*/ 2484990 h 4997112"/>
              <a:gd name="connsiteX2" fmla="*/ 10689 w 3509263"/>
              <a:gd name="connsiteY2" fmla="*/ 4451879 h 4997112"/>
              <a:gd name="connsiteX3" fmla="*/ 430973 w 3509263"/>
              <a:gd name="connsiteY3" fmla="*/ 4894881 h 4997112"/>
              <a:gd name="connsiteX4" fmla="*/ 771743 w 3509263"/>
              <a:gd name="connsiteY4" fmla="*/ 4997112 h 4997112"/>
              <a:gd name="connsiteX5" fmla="*/ 1135231 w 3509263"/>
              <a:gd name="connsiteY5" fmla="*/ 4872163 h 4997112"/>
              <a:gd name="connsiteX6" fmla="*/ 3509263 w 3509263"/>
              <a:gd name="connsiteY6" fmla="*/ 2498130 h 4997112"/>
              <a:gd name="connsiteX7" fmla="*/ 1117296 w 3509263"/>
              <a:gd name="connsiteY7" fmla="*/ 118187 h 4997112"/>
              <a:gd name="connsiteX8" fmla="*/ 753426 w 3509263"/>
              <a:gd name="connsiteY8" fmla="*/ 4526 h 4997112"/>
              <a:gd name="connsiteX9" fmla="*/ 397553 w 3509263"/>
              <a:gd name="connsiteY9" fmla="*/ 145346 h 4997112"/>
              <a:gd name="connsiteX10" fmla="*/ 0 w 3509263"/>
              <a:gd name="connsiteY10" fmla="*/ 526104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64742 w 3500203"/>
              <a:gd name="connsiteY1" fmla="*/ 25023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5110 w 3505313"/>
              <a:gd name="connsiteY0" fmla="*/ 531610 h 4997112"/>
              <a:gd name="connsiteX1" fmla="*/ 1969852 w 3505313"/>
              <a:gd name="connsiteY1" fmla="*/ 2502390 h 4997112"/>
              <a:gd name="connsiteX2" fmla="*/ 0 w 3505313"/>
              <a:gd name="connsiteY2" fmla="*/ 4481321 h 4997112"/>
              <a:gd name="connsiteX3" fmla="*/ 427023 w 3505313"/>
              <a:gd name="connsiteY3" fmla="*/ 4894881 h 4997112"/>
              <a:gd name="connsiteX4" fmla="*/ 767793 w 3505313"/>
              <a:gd name="connsiteY4" fmla="*/ 4997112 h 4997112"/>
              <a:gd name="connsiteX5" fmla="*/ 1131281 w 3505313"/>
              <a:gd name="connsiteY5" fmla="*/ 4872163 h 4997112"/>
              <a:gd name="connsiteX6" fmla="*/ 3505313 w 3505313"/>
              <a:gd name="connsiteY6" fmla="*/ 2498130 h 4997112"/>
              <a:gd name="connsiteX7" fmla="*/ 1113346 w 3505313"/>
              <a:gd name="connsiteY7" fmla="*/ 118187 h 4997112"/>
              <a:gd name="connsiteX8" fmla="*/ 749476 w 3505313"/>
              <a:gd name="connsiteY8" fmla="*/ 4526 h 4997112"/>
              <a:gd name="connsiteX9" fmla="*/ 393603 w 3505313"/>
              <a:gd name="connsiteY9" fmla="*/ 145346 h 4997112"/>
              <a:gd name="connsiteX10" fmla="*/ 5110 w 3505313"/>
              <a:gd name="connsiteY10" fmla="*/ 531610 h 4997112"/>
              <a:gd name="connsiteX0" fmla="*/ 5110 w 3505313"/>
              <a:gd name="connsiteY0" fmla="*/ 531610 h 5288660"/>
              <a:gd name="connsiteX1" fmla="*/ 1969852 w 3505313"/>
              <a:gd name="connsiteY1" fmla="*/ 2502390 h 5288660"/>
              <a:gd name="connsiteX2" fmla="*/ 0 w 3505313"/>
              <a:gd name="connsiteY2" fmla="*/ 4481321 h 5288660"/>
              <a:gd name="connsiteX3" fmla="*/ 427023 w 3505313"/>
              <a:gd name="connsiteY3" fmla="*/ 4894881 h 5288660"/>
              <a:gd name="connsiteX4" fmla="*/ 767793 w 3505313"/>
              <a:gd name="connsiteY4" fmla="*/ 4997112 h 5288660"/>
              <a:gd name="connsiteX5" fmla="*/ 1131281 w 3505313"/>
              <a:gd name="connsiteY5" fmla="*/ 4872163 h 5288660"/>
              <a:gd name="connsiteX6" fmla="*/ 3505313 w 3505313"/>
              <a:gd name="connsiteY6" fmla="*/ 2498130 h 5288660"/>
              <a:gd name="connsiteX7" fmla="*/ 1113346 w 3505313"/>
              <a:gd name="connsiteY7" fmla="*/ 118187 h 5288660"/>
              <a:gd name="connsiteX8" fmla="*/ 749476 w 3505313"/>
              <a:gd name="connsiteY8" fmla="*/ 4526 h 5288660"/>
              <a:gd name="connsiteX9" fmla="*/ 393603 w 3505313"/>
              <a:gd name="connsiteY9" fmla="*/ 145346 h 5288660"/>
              <a:gd name="connsiteX10" fmla="*/ 5110 w 3505313"/>
              <a:gd name="connsiteY10" fmla="*/ 531610 h 5288660"/>
              <a:gd name="connsiteX0" fmla="*/ 5110 w 3505313"/>
              <a:gd name="connsiteY0" fmla="*/ 531610 h 5000898"/>
              <a:gd name="connsiteX1" fmla="*/ 1969852 w 3505313"/>
              <a:gd name="connsiteY1" fmla="*/ 2502390 h 5000898"/>
              <a:gd name="connsiteX2" fmla="*/ 0 w 3505313"/>
              <a:gd name="connsiteY2" fmla="*/ 4481321 h 5000898"/>
              <a:gd name="connsiteX3" fmla="*/ 427023 w 3505313"/>
              <a:gd name="connsiteY3" fmla="*/ 4894881 h 5000898"/>
              <a:gd name="connsiteX4" fmla="*/ 767793 w 3505313"/>
              <a:gd name="connsiteY4" fmla="*/ 4997112 h 5000898"/>
              <a:gd name="connsiteX5" fmla="*/ 1131281 w 3505313"/>
              <a:gd name="connsiteY5" fmla="*/ 4872163 h 5000898"/>
              <a:gd name="connsiteX6" fmla="*/ 3505313 w 3505313"/>
              <a:gd name="connsiteY6" fmla="*/ 2498130 h 5000898"/>
              <a:gd name="connsiteX7" fmla="*/ 1113346 w 3505313"/>
              <a:gd name="connsiteY7" fmla="*/ 118187 h 5000898"/>
              <a:gd name="connsiteX8" fmla="*/ 749476 w 3505313"/>
              <a:gd name="connsiteY8" fmla="*/ 4526 h 5000898"/>
              <a:gd name="connsiteX9" fmla="*/ 393603 w 3505313"/>
              <a:gd name="connsiteY9" fmla="*/ 145346 h 5000898"/>
              <a:gd name="connsiteX10" fmla="*/ 5110 w 3505313"/>
              <a:gd name="connsiteY10" fmla="*/ 531610 h 5000898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29652 h 5005303"/>
              <a:gd name="connsiteX1" fmla="*/ 1969852 w 3505313"/>
              <a:gd name="connsiteY1" fmla="*/ 2500432 h 5005303"/>
              <a:gd name="connsiteX2" fmla="*/ 0 w 3505313"/>
              <a:gd name="connsiteY2" fmla="*/ 4479363 h 5005303"/>
              <a:gd name="connsiteX3" fmla="*/ 427023 w 3505313"/>
              <a:gd name="connsiteY3" fmla="*/ 4892923 h 5005303"/>
              <a:gd name="connsiteX4" fmla="*/ 787503 w 3505313"/>
              <a:gd name="connsiteY4" fmla="*/ 5001517 h 5005303"/>
              <a:gd name="connsiteX5" fmla="*/ 1131281 w 3505313"/>
              <a:gd name="connsiteY5" fmla="*/ 4870205 h 5005303"/>
              <a:gd name="connsiteX6" fmla="*/ 3505313 w 3505313"/>
              <a:gd name="connsiteY6" fmla="*/ 2496172 h 5005303"/>
              <a:gd name="connsiteX7" fmla="*/ 1160106 w 3505313"/>
              <a:gd name="connsiteY7" fmla="*/ 158794 h 5005303"/>
              <a:gd name="connsiteX8" fmla="*/ 749476 w 3505313"/>
              <a:gd name="connsiteY8" fmla="*/ 2568 h 5005303"/>
              <a:gd name="connsiteX9" fmla="*/ 393603 w 3505313"/>
              <a:gd name="connsiteY9" fmla="*/ 143388 h 5005303"/>
              <a:gd name="connsiteX10" fmla="*/ 5110 w 3505313"/>
              <a:gd name="connsiteY10" fmla="*/ 529652 h 5005303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416 h 5008067"/>
              <a:gd name="connsiteX1" fmla="*/ 1969852 w 3505313"/>
              <a:gd name="connsiteY1" fmla="*/ 2503196 h 5008067"/>
              <a:gd name="connsiteX2" fmla="*/ 0 w 3505313"/>
              <a:gd name="connsiteY2" fmla="*/ 4482127 h 5008067"/>
              <a:gd name="connsiteX3" fmla="*/ 427023 w 3505313"/>
              <a:gd name="connsiteY3" fmla="*/ 4895687 h 5008067"/>
              <a:gd name="connsiteX4" fmla="*/ 787503 w 3505313"/>
              <a:gd name="connsiteY4" fmla="*/ 5004281 h 5008067"/>
              <a:gd name="connsiteX5" fmla="*/ 1131281 w 3505313"/>
              <a:gd name="connsiteY5" fmla="*/ 4872969 h 5008067"/>
              <a:gd name="connsiteX6" fmla="*/ 3505313 w 3505313"/>
              <a:gd name="connsiteY6" fmla="*/ 2498936 h 5008067"/>
              <a:gd name="connsiteX7" fmla="*/ 1160106 w 3505313"/>
              <a:gd name="connsiteY7" fmla="*/ 161558 h 5008067"/>
              <a:gd name="connsiteX8" fmla="*/ 796836 w 3505313"/>
              <a:gd name="connsiteY8" fmla="*/ 2318 h 5008067"/>
              <a:gd name="connsiteX9" fmla="*/ 393603 w 3505313"/>
              <a:gd name="connsiteY9" fmla="*/ 146152 h 5008067"/>
              <a:gd name="connsiteX10" fmla="*/ 5110 w 3505313"/>
              <a:gd name="connsiteY10" fmla="*/ 532416 h 500806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05313" h="5008317">
                <a:moveTo>
                  <a:pt x="5110" y="532666"/>
                </a:moveTo>
                <a:lnTo>
                  <a:pt x="1969852" y="2503446"/>
                </a:lnTo>
                <a:lnTo>
                  <a:pt x="0" y="4482377"/>
                </a:lnTo>
                <a:lnTo>
                  <a:pt x="427023" y="4895937"/>
                </a:lnTo>
                <a:cubicBezTo>
                  <a:pt x="510281" y="4969426"/>
                  <a:pt x="670127" y="5008317"/>
                  <a:pt x="787503" y="5004531"/>
                </a:cubicBezTo>
                <a:cubicBezTo>
                  <a:pt x="904879" y="5000745"/>
                  <a:pt x="1004011" y="4978861"/>
                  <a:pt x="1131281" y="4873219"/>
                </a:cubicBezTo>
                <a:lnTo>
                  <a:pt x="3505313" y="2499186"/>
                </a:lnTo>
                <a:lnTo>
                  <a:pt x="1160106" y="161808"/>
                </a:lnTo>
                <a:cubicBezTo>
                  <a:pt x="1068649" y="89635"/>
                  <a:pt x="968345" y="5136"/>
                  <a:pt x="796836" y="2568"/>
                </a:cubicBezTo>
                <a:cubicBezTo>
                  <a:pt x="625327" y="0"/>
                  <a:pt x="475789" y="68559"/>
                  <a:pt x="393603" y="146402"/>
                </a:cubicBezTo>
                <a:lnTo>
                  <a:pt x="5110" y="532666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pic>
        <p:nvPicPr>
          <p:cNvPr id="4" name="Picture 3" descr="BlackLogo.png">
            <a:extLst>
              <a:ext uri="{FF2B5EF4-FFF2-40B4-BE49-F238E27FC236}">
                <a16:creationId xmlns:a16="http://schemas.microsoft.com/office/drawing/2014/main" id="{26E1E3E9-5EF1-D01A-BE86-BFED1E8DD2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52645" y="196036"/>
            <a:ext cx="994827" cy="250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9360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 for lots of content">
    <p:bg>
      <p:bgPr>
        <a:solidFill>
          <a:srgbClr val="F8F6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 userDrawn="1"/>
        </p:nvSpPr>
        <p:spPr>
          <a:xfrm rot="16200000">
            <a:off x="2344007" y="-1662027"/>
            <a:ext cx="4465011" cy="9153021"/>
          </a:xfrm>
          <a:custGeom>
            <a:avLst/>
            <a:gdLst>
              <a:gd name="connsiteX0" fmla="*/ 0 w 1134016"/>
              <a:gd name="connsiteY0" fmla="*/ 1408203 h 1410865"/>
              <a:gd name="connsiteX1" fmla="*/ 716080 w 1134016"/>
              <a:gd name="connsiteY1" fmla="*/ 1410865 h 1410865"/>
              <a:gd name="connsiteX2" fmla="*/ 1027535 w 1134016"/>
              <a:gd name="connsiteY2" fmla="*/ 1096747 h 1410865"/>
              <a:gd name="connsiteX3" fmla="*/ 1134016 w 1134016"/>
              <a:gd name="connsiteY3" fmla="*/ 894435 h 1410865"/>
              <a:gd name="connsiteX4" fmla="*/ 1128692 w 1134016"/>
              <a:gd name="connsiteY4" fmla="*/ 0 h 1410865"/>
              <a:gd name="connsiteX5" fmla="*/ 39930 w 1134016"/>
              <a:gd name="connsiteY5" fmla="*/ 0 h 1410865"/>
              <a:gd name="connsiteX6" fmla="*/ 0 w 1134016"/>
              <a:gd name="connsiteY6" fmla="*/ 1408203 h 1410865"/>
              <a:gd name="connsiteX0" fmla="*/ 0 w 5993513"/>
              <a:gd name="connsiteY0" fmla="*/ 1409125 h 1410865"/>
              <a:gd name="connsiteX1" fmla="*/ 5575577 w 5993513"/>
              <a:gd name="connsiteY1" fmla="*/ 1410865 h 1410865"/>
              <a:gd name="connsiteX2" fmla="*/ 5887032 w 5993513"/>
              <a:gd name="connsiteY2" fmla="*/ 1096747 h 1410865"/>
              <a:gd name="connsiteX3" fmla="*/ 5993513 w 5993513"/>
              <a:gd name="connsiteY3" fmla="*/ 894435 h 1410865"/>
              <a:gd name="connsiteX4" fmla="*/ 5988189 w 5993513"/>
              <a:gd name="connsiteY4" fmla="*/ 0 h 1410865"/>
              <a:gd name="connsiteX5" fmla="*/ 4899427 w 5993513"/>
              <a:gd name="connsiteY5" fmla="*/ 0 h 1410865"/>
              <a:gd name="connsiteX6" fmla="*/ 0 w 5993513"/>
              <a:gd name="connsiteY6" fmla="*/ 1409125 h 1410865"/>
              <a:gd name="connsiteX0" fmla="*/ 0 w 5993513"/>
              <a:gd name="connsiteY0" fmla="*/ 6859588 h 6861328"/>
              <a:gd name="connsiteX1" fmla="*/ 5575577 w 5993513"/>
              <a:gd name="connsiteY1" fmla="*/ 6861328 h 6861328"/>
              <a:gd name="connsiteX2" fmla="*/ 5887032 w 5993513"/>
              <a:gd name="connsiteY2" fmla="*/ 6547210 h 6861328"/>
              <a:gd name="connsiteX3" fmla="*/ 5993513 w 5993513"/>
              <a:gd name="connsiteY3" fmla="*/ 6344898 h 6861328"/>
              <a:gd name="connsiteX4" fmla="*/ 5988189 w 5993513"/>
              <a:gd name="connsiteY4" fmla="*/ 5450463 h 6861328"/>
              <a:gd name="connsiteX5" fmla="*/ 1 w 5993513"/>
              <a:gd name="connsiteY5" fmla="*/ 0 h 6861328"/>
              <a:gd name="connsiteX6" fmla="*/ 0 w 5993513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3513"/>
              <a:gd name="connsiteY0" fmla="*/ 12219678 h 12221418"/>
              <a:gd name="connsiteX1" fmla="*/ 5575577 w 5993513"/>
              <a:gd name="connsiteY1" fmla="*/ 12221418 h 12221418"/>
              <a:gd name="connsiteX2" fmla="*/ 5887032 w 5993513"/>
              <a:gd name="connsiteY2" fmla="*/ 11907300 h 12221418"/>
              <a:gd name="connsiteX3" fmla="*/ 5993513 w 5993513"/>
              <a:gd name="connsiteY3" fmla="*/ 11704988 h 12221418"/>
              <a:gd name="connsiteX4" fmla="*/ 5987780 w 5993513"/>
              <a:gd name="connsiteY4" fmla="*/ 0 h 12221418"/>
              <a:gd name="connsiteX5" fmla="*/ 1 w 5993513"/>
              <a:gd name="connsiteY5" fmla="*/ 5360090 h 12221418"/>
              <a:gd name="connsiteX6" fmla="*/ 0 w 5993513"/>
              <a:gd name="connsiteY6" fmla="*/ 12219678 h 12221418"/>
              <a:gd name="connsiteX0" fmla="*/ 3542284 w 5993512"/>
              <a:gd name="connsiteY0" fmla="*/ 12215762 h 12221418"/>
              <a:gd name="connsiteX1" fmla="*/ 5575576 w 5993512"/>
              <a:gd name="connsiteY1" fmla="*/ 12221418 h 12221418"/>
              <a:gd name="connsiteX2" fmla="*/ 5887031 w 5993512"/>
              <a:gd name="connsiteY2" fmla="*/ 11907300 h 12221418"/>
              <a:gd name="connsiteX3" fmla="*/ 5993512 w 5993512"/>
              <a:gd name="connsiteY3" fmla="*/ 11704988 h 12221418"/>
              <a:gd name="connsiteX4" fmla="*/ 5987779 w 5993512"/>
              <a:gd name="connsiteY4" fmla="*/ 0 h 12221418"/>
              <a:gd name="connsiteX5" fmla="*/ 0 w 5993512"/>
              <a:gd name="connsiteY5" fmla="*/ 5360090 h 12221418"/>
              <a:gd name="connsiteX6" fmla="*/ 3542284 w 5993512"/>
              <a:gd name="connsiteY6" fmla="*/ 12215762 h 12221418"/>
              <a:gd name="connsiteX0" fmla="*/ 0 w 2451228"/>
              <a:gd name="connsiteY0" fmla="*/ 12215762 h 12221418"/>
              <a:gd name="connsiteX1" fmla="*/ 2033292 w 2451228"/>
              <a:gd name="connsiteY1" fmla="*/ 12221418 h 12221418"/>
              <a:gd name="connsiteX2" fmla="*/ 2344747 w 2451228"/>
              <a:gd name="connsiteY2" fmla="*/ 11907300 h 12221418"/>
              <a:gd name="connsiteX3" fmla="*/ 2451228 w 2451228"/>
              <a:gd name="connsiteY3" fmla="*/ 11704988 h 12221418"/>
              <a:gd name="connsiteX4" fmla="*/ 2445495 w 2451228"/>
              <a:gd name="connsiteY4" fmla="*/ 0 h 12221418"/>
              <a:gd name="connsiteX5" fmla="*/ 0 w 2451228"/>
              <a:gd name="connsiteY5" fmla="*/ 20584 h 12221418"/>
              <a:gd name="connsiteX6" fmla="*/ 0 w 2451228"/>
              <a:gd name="connsiteY6" fmla="*/ 12215762 h 12221418"/>
              <a:gd name="connsiteX0" fmla="*/ 0 w 2451228"/>
              <a:gd name="connsiteY0" fmla="*/ 12202114 h 12207770"/>
              <a:gd name="connsiteX1" fmla="*/ 2033292 w 2451228"/>
              <a:gd name="connsiteY1" fmla="*/ 12207770 h 12207770"/>
              <a:gd name="connsiteX2" fmla="*/ 2344747 w 2451228"/>
              <a:gd name="connsiteY2" fmla="*/ 11893652 h 12207770"/>
              <a:gd name="connsiteX3" fmla="*/ 2451228 w 2451228"/>
              <a:gd name="connsiteY3" fmla="*/ 11691340 h 12207770"/>
              <a:gd name="connsiteX4" fmla="*/ 2441055 w 2451228"/>
              <a:gd name="connsiteY4" fmla="*/ 0 h 12207770"/>
              <a:gd name="connsiteX5" fmla="*/ 0 w 2451228"/>
              <a:gd name="connsiteY5" fmla="*/ 6936 h 12207770"/>
              <a:gd name="connsiteX6" fmla="*/ 0 w 2451228"/>
              <a:gd name="connsiteY6" fmla="*/ 12202114 h 12207770"/>
              <a:gd name="connsiteX0" fmla="*/ 0 w 2451228"/>
              <a:gd name="connsiteY0" fmla="*/ 12195178 h 12200834"/>
              <a:gd name="connsiteX1" fmla="*/ 2033292 w 2451228"/>
              <a:gd name="connsiteY1" fmla="*/ 12200834 h 12200834"/>
              <a:gd name="connsiteX2" fmla="*/ 2344747 w 2451228"/>
              <a:gd name="connsiteY2" fmla="*/ 11886716 h 12200834"/>
              <a:gd name="connsiteX3" fmla="*/ 2451228 w 2451228"/>
              <a:gd name="connsiteY3" fmla="*/ 11684404 h 12200834"/>
              <a:gd name="connsiteX4" fmla="*/ 2439518 w 2451228"/>
              <a:gd name="connsiteY4" fmla="*/ 1656 h 12200834"/>
              <a:gd name="connsiteX5" fmla="*/ 0 w 2451228"/>
              <a:gd name="connsiteY5" fmla="*/ 0 h 12200834"/>
              <a:gd name="connsiteX6" fmla="*/ 0 w 2451228"/>
              <a:gd name="connsiteY6" fmla="*/ 12195178 h 12200834"/>
              <a:gd name="connsiteX0" fmla="*/ 0 w 2451228"/>
              <a:gd name="connsiteY0" fmla="*/ 12195178 h 12195178"/>
              <a:gd name="connsiteX1" fmla="*/ 2018671 w 2451228"/>
              <a:gd name="connsiteY1" fmla="*/ 12192340 h 12195178"/>
              <a:gd name="connsiteX2" fmla="*/ 2344747 w 2451228"/>
              <a:gd name="connsiteY2" fmla="*/ 11886716 h 12195178"/>
              <a:gd name="connsiteX3" fmla="*/ 2451228 w 2451228"/>
              <a:gd name="connsiteY3" fmla="*/ 11684404 h 12195178"/>
              <a:gd name="connsiteX4" fmla="*/ 2439518 w 2451228"/>
              <a:gd name="connsiteY4" fmla="*/ 1656 h 12195178"/>
              <a:gd name="connsiteX5" fmla="*/ 0 w 2451228"/>
              <a:gd name="connsiteY5" fmla="*/ 0 h 12195178"/>
              <a:gd name="connsiteX6" fmla="*/ 0 w 2451228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44747 w 2444782"/>
              <a:gd name="connsiteY2" fmla="*/ 1188671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14573 w 2444782"/>
              <a:gd name="connsiteY2" fmla="*/ 1189850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14573 w 2444782"/>
              <a:gd name="connsiteY2" fmla="*/ 1189850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14573 w 2444782"/>
              <a:gd name="connsiteY2" fmla="*/ 1189850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4956105"/>
              <a:gd name="connsiteY0" fmla="*/ 12195175 h 12195175"/>
              <a:gd name="connsiteX1" fmla="*/ 4529994 w 4956105"/>
              <a:gd name="connsiteY1" fmla="*/ 12192340 h 12195175"/>
              <a:gd name="connsiteX2" fmla="*/ 4825896 w 4956105"/>
              <a:gd name="connsiteY2" fmla="*/ 11898506 h 12195175"/>
              <a:gd name="connsiteX3" fmla="*/ 4956105 w 4956105"/>
              <a:gd name="connsiteY3" fmla="*/ 11651193 h 12195175"/>
              <a:gd name="connsiteX4" fmla="*/ 4950841 w 4956105"/>
              <a:gd name="connsiteY4" fmla="*/ 1656 h 12195175"/>
              <a:gd name="connsiteX5" fmla="*/ 2511323 w 4956105"/>
              <a:gd name="connsiteY5" fmla="*/ 0 h 12195175"/>
              <a:gd name="connsiteX6" fmla="*/ 0 w 4956105"/>
              <a:gd name="connsiteY6" fmla="*/ 12195175 h 12195175"/>
              <a:gd name="connsiteX0" fmla="*/ 0 w 4956105"/>
              <a:gd name="connsiteY0" fmla="*/ 12195174 h 12195174"/>
              <a:gd name="connsiteX1" fmla="*/ 4529994 w 4956105"/>
              <a:gd name="connsiteY1" fmla="*/ 12192339 h 12195174"/>
              <a:gd name="connsiteX2" fmla="*/ 4825896 w 4956105"/>
              <a:gd name="connsiteY2" fmla="*/ 11898505 h 12195174"/>
              <a:gd name="connsiteX3" fmla="*/ 4956105 w 4956105"/>
              <a:gd name="connsiteY3" fmla="*/ 11651192 h 12195174"/>
              <a:gd name="connsiteX4" fmla="*/ 4950841 w 4956105"/>
              <a:gd name="connsiteY4" fmla="*/ 1655 h 12195174"/>
              <a:gd name="connsiteX5" fmla="*/ 0 w 4956105"/>
              <a:gd name="connsiteY5" fmla="*/ 0 h 12195174"/>
              <a:gd name="connsiteX6" fmla="*/ 0 w 4956105"/>
              <a:gd name="connsiteY6" fmla="*/ 12195174 h 12195174"/>
              <a:gd name="connsiteX0" fmla="*/ 998621 w 5954726"/>
              <a:gd name="connsiteY0" fmla="*/ 12195174 h 12195174"/>
              <a:gd name="connsiteX1" fmla="*/ 5528615 w 5954726"/>
              <a:gd name="connsiteY1" fmla="*/ 12192339 h 12195174"/>
              <a:gd name="connsiteX2" fmla="*/ 5824517 w 5954726"/>
              <a:gd name="connsiteY2" fmla="*/ 11898505 h 12195174"/>
              <a:gd name="connsiteX3" fmla="*/ 5954726 w 5954726"/>
              <a:gd name="connsiteY3" fmla="*/ 11651192 h 12195174"/>
              <a:gd name="connsiteX4" fmla="*/ 5949462 w 5954726"/>
              <a:gd name="connsiteY4" fmla="*/ 1655 h 12195174"/>
              <a:gd name="connsiteX5" fmla="*/ 0 w 5954726"/>
              <a:gd name="connsiteY5" fmla="*/ 0 h 12195174"/>
              <a:gd name="connsiteX6" fmla="*/ 998621 w 5954726"/>
              <a:gd name="connsiteY6" fmla="*/ 12195174 h 12195174"/>
              <a:gd name="connsiteX0" fmla="*/ 0 w 5954726"/>
              <a:gd name="connsiteY0" fmla="*/ 12207206 h 12207206"/>
              <a:gd name="connsiteX1" fmla="*/ 5528615 w 5954726"/>
              <a:gd name="connsiteY1" fmla="*/ 12192339 h 12207206"/>
              <a:gd name="connsiteX2" fmla="*/ 5824517 w 5954726"/>
              <a:gd name="connsiteY2" fmla="*/ 11898505 h 12207206"/>
              <a:gd name="connsiteX3" fmla="*/ 5954726 w 5954726"/>
              <a:gd name="connsiteY3" fmla="*/ 11651192 h 12207206"/>
              <a:gd name="connsiteX4" fmla="*/ 5949462 w 5954726"/>
              <a:gd name="connsiteY4" fmla="*/ 1655 h 12207206"/>
              <a:gd name="connsiteX5" fmla="*/ 0 w 5954726"/>
              <a:gd name="connsiteY5" fmla="*/ 0 h 12207206"/>
              <a:gd name="connsiteX6" fmla="*/ 0 w 5954726"/>
              <a:gd name="connsiteY6" fmla="*/ 12207206 h 12207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4726" h="12207206">
                <a:moveTo>
                  <a:pt x="0" y="12207206"/>
                </a:moveTo>
                <a:lnTo>
                  <a:pt x="5528615" y="12192339"/>
                </a:lnTo>
                <a:lnTo>
                  <a:pt x="5824517" y="11898505"/>
                </a:lnTo>
                <a:cubicBezTo>
                  <a:pt x="5925107" y="11801962"/>
                  <a:pt x="5945764" y="11762947"/>
                  <a:pt x="5954726" y="11651192"/>
                </a:cubicBezTo>
                <a:cubicBezTo>
                  <a:pt x="5952951" y="11353047"/>
                  <a:pt x="5951237" y="299800"/>
                  <a:pt x="5949462" y="1655"/>
                </a:cubicBezTo>
                <a:lnTo>
                  <a:pt x="0" y="0"/>
                </a:lnTo>
                <a:lnTo>
                  <a:pt x="0" y="12207206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GB" sz="135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109">
            <a:extLst>
              <a:ext uri="{FF2B5EF4-FFF2-40B4-BE49-F238E27FC236}">
                <a16:creationId xmlns:a16="http://schemas.microsoft.com/office/drawing/2014/main" id="{494782E4-17B8-06A6-9E3E-12CBE12D302B}"/>
              </a:ext>
            </a:extLst>
          </p:cNvPr>
          <p:cNvSpPr txBox="1">
            <a:spLocks/>
          </p:cNvSpPr>
          <p:nvPr userDrawn="1"/>
        </p:nvSpPr>
        <p:spPr>
          <a:xfrm>
            <a:off x="8567403" y="4839477"/>
            <a:ext cx="19526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400">
                <a:solidFill>
                  <a:srgbClr val="FF0000"/>
                </a:solidFill>
                <a:latin typeface="+mn-lt"/>
              </a:defRPr>
            </a:lvl1pPr>
          </a:lstStyle>
          <a:p>
            <a:pPr marL="0" marR="0" lvl="0" indent="0" algn="r" defTabSz="6855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B8A8675-40C0-40D2-8FCE-EA4A25F48F18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57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" name="Picture 1" descr="Logo&#10;&#10;Description automatically generated with medium confidence">
            <a:extLst>
              <a:ext uri="{FF2B5EF4-FFF2-40B4-BE49-F238E27FC236}">
                <a16:creationId xmlns:a16="http://schemas.microsoft.com/office/drawing/2014/main" id="{4A86E9AE-4F13-A834-D062-E9B29C06CE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1" y="88050"/>
            <a:ext cx="1241815" cy="459805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C2F6293-93D6-1294-6900-99CC7F7A1F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resentation title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65C3B53B-12F1-320F-6533-B70039B11D33}"/>
              </a:ext>
            </a:extLst>
          </p:cNvPr>
          <p:cNvCxnSpPr>
            <a:cxnSpLocks/>
          </p:cNvCxnSpPr>
          <p:nvPr userDrawn="1"/>
        </p:nvCxnSpPr>
        <p:spPr>
          <a:xfrm>
            <a:off x="1721738" y="182293"/>
            <a:ext cx="0" cy="350919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3">
            <a:extLst>
              <a:ext uri="{FF2B5EF4-FFF2-40B4-BE49-F238E27FC236}">
                <a16:creationId xmlns:a16="http://schemas.microsoft.com/office/drawing/2014/main" id="{25FC9CD9-C6A3-1A04-6179-17B394514F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5522" y="165110"/>
            <a:ext cx="7061991" cy="448357"/>
          </a:xfrm>
        </p:spPr>
        <p:txBody>
          <a:bodyPr/>
          <a:lstStyle>
            <a:lvl1pPr>
              <a:lnSpc>
                <a:spcPts val="1500"/>
              </a:lnSpc>
              <a:defRPr sz="15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42716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 with banner">
    <p:bg>
      <p:bgPr>
        <a:solidFill>
          <a:srgbClr val="F8F6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 userDrawn="1"/>
        </p:nvSpPr>
        <p:spPr>
          <a:xfrm rot="16200000">
            <a:off x="2344006" y="-1662027"/>
            <a:ext cx="4465011" cy="9153021"/>
          </a:xfrm>
          <a:custGeom>
            <a:avLst/>
            <a:gdLst>
              <a:gd name="connsiteX0" fmla="*/ 0 w 1134016"/>
              <a:gd name="connsiteY0" fmla="*/ 1408203 h 1410865"/>
              <a:gd name="connsiteX1" fmla="*/ 716080 w 1134016"/>
              <a:gd name="connsiteY1" fmla="*/ 1410865 h 1410865"/>
              <a:gd name="connsiteX2" fmla="*/ 1027535 w 1134016"/>
              <a:gd name="connsiteY2" fmla="*/ 1096747 h 1410865"/>
              <a:gd name="connsiteX3" fmla="*/ 1134016 w 1134016"/>
              <a:gd name="connsiteY3" fmla="*/ 894435 h 1410865"/>
              <a:gd name="connsiteX4" fmla="*/ 1128692 w 1134016"/>
              <a:gd name="connsiteY4" fmla="*/ 0 h 1410865"/>
              <a:gd name="connsiteX5" fmla="*/ 39930 w 1134016"/>
              <a:gd name="connsiteY5" fmla="*/ 0 h 1410865"/>
              <a:gd name="connsiteX6" fmla="*/ 0 w 1134016"/>
              <a:gd name="connsiteY6" fmla="*/ 1408203 h 1410865"/>
              <a:gd name="connsiteX0" fmla="*/ 0 w 5993513"/>
              <a:gd name="connsiteY0" fmla="*/ 1409125 h 1410865"/>
              <a:gd name="connsiteX1" fmla="*/ 5575577 w 5993513"/>
              <a:gd name="connsiteY1" fmla="*/ 1410865 h 1410865"/>
              <a:gd name="connsiteX2" fmla="*/ 5887032 w 5993513"/>
              <a:gd name="connsiteY2" fmla="*/ 1096747 h 1410865"/>
              <a:gd name="connsiteX3" fmla="*/ 5993513 w 5993513"/>
              <a:gd name="connsiteY3" fmla="*/ 894435 h 1410865"/>
              <a:gd name="connsiteX4" fmla="*/ 5988189 w 5993513"/>
              <a:gd name="connsiteY4" fmla="*/ 0 h 1410865"/>
              <a:gd name="connsiteX5" fmla="*/ 4899427 w 5993513"/>
              <a:gd name="connsiteY5" fmla="*/ 0 h 1410865"/>
              <a:gd name="connsiteX6" fmla="*/ 0 w 5993513"/>
              <a:gd name="connsiteY6" fmla="*/ 1409125 h 1410865"/>
              <a:gd name="connsiteX0" fmla="*/ 0 w 5993513"/>
              <a:gd name="connsiteY0" fmla="*/ 6859588 h 6861328"/>
              <a:gd name="connsiteX1" fmla="*/ 5575577 w 5993513"/>
              <a:gd name="connsiteY1" fmla="*/ 6861328 h 6861328"/>
              <a:gd name="connsiteX2" fmla="*/ 5887032 w 5993513"/>
              <a:gd name="connsiteY2" fmla="*/ 6547210 h 6861328"/>
              <a:gd name="connsiteX3" fmla="*/ 5993513 w 5993513"/>
              <a:gd name="connsiteY3" fmla="*/ 6344898 h 6861328"/>
              <a:gd name="connsiteX4" fmla="*/ 5988189 w 5993513"/>
              <a:gd name="connsiteY4" fmla="*/ 5450463 h 6861328"/>
              <a:gd name="connsiteX5" fmla="*/ 1 w 5993513"/>
              <a:gd name="connsiteY5" fmla="*/ 0 h 6861328"/>
              <a:gd name="connsiteX6" fmla="*/ 0 w 5993513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3513"/>
              <a:gd name="connsiteY0" fmla="*/ 12219678 h 12221418"/>
              <a:gd name="connsiteX1" fmla="*/ 5575577 w 5993513"/>
              <a:gd name="connsiteY1" fmla="*/ 12221418 h 12221418"/>
              <a:gd name="connsiteX2" fmla="*/ 5887032 w 5993513"/>
              <a:gd name="connsiteY2" fmla="*/ 11907300 h 12221418"/>
              <a:gd name="connsiteX3" fmla="*/ 5993513 w 5993513"/>
              <a:gd name="connsiteY3" fmla="*/ 11704988 h 12221418"/>
              <a:gd name="connsiteX4" fmla="*/ 5987780 w 5993513"/>
              <a:gd name="connsiteY4" fmla="*/ 0 h 12221418"/>
              <a:gd name="connsiteX5" fmla="*/ 1 w 5993513"/>
              <a:gd name="connsiteY5" fmla="*/ 5360090 h 12221418"/>
              <a:gd name="connsiteX6" fmla="*/ 0 w 5993513"/>
              <a:gd name="connsiteY6" fmla="*/ 12219678 h 12221418"/>
              <a:gd name="connsiteX0" fmla="*/ 3542284 w 5993512"/>
              <a:gd name="connsiteY0" fmla="*/ 12215762 h 12221418"/>
              <a:gd name="connsiteX1" fmla="*/ 5575576 w 5993512"/>
              <a:gd name="connsiteY1" fmla="*/ 12221418 h 12221418"/>
              <a:gd name="connsiteX2" fmla="*/ 5887031 w 5993512"/>
              <a:gd name="connsiteY2" fmla="*/ 11907300 h 12221418"/>
              <a:gd name="connsiteX3" fmla="*/ 5993512 w 5993512"/>
              <a:gd name="connsiteY3" fmla="*/ 11704988 h 12221418"/>
              <a:gd name="connsiteX4" fmla="*/ 5987779 w 5993512"/>
              <a:gd name="connsiteY4" fmla="*/ 0 h 12221418"/>
              <a:gd name="connsiteX5" fmla="*/ 0 w 5993512"/>
              <a:gd name="connsiteY5" fmla="*/ 5360090 h 12221418"/>
              <a:gd name="connsiteX6" fmla="*/ 3542284 w 5993512"/>
              <a:gd name="connsiteY6" fmla="*/ 12215762 h 12221418"/>
              <a:gd name="connsiteX0" fmla="*/ 0 w 2451228"/>
              <a:gd name="connsiteY0" fmla="*/ 12215762 h 12221418"/>
              <a:gd name="connsiteX1" fmla="*/ 2033292 w 2451228"/>
              <a:gd name="connsiteY1" fmla="*/ 12221418 h 12221418"/>
              <a:gd name="connsiteX2" fmla="*/ 2344747 w 2451228"/>
              <a:gd name="connsiteY2" fmla="*/ 11907300 h 12221418"/>
              <a:gd name="connsiteX3" fmla="*/ 2451228 w 2451228"/>
              <a:gd name="connsiteY3" fmla="*/ 11704988 h 12221418"/>
              <a:gd name="connsiteX4" fmla="*/ 2445495 w 2451228"/>
              <a:gd name="connsiteY4" fmla="*/ 0 h 12221418"/>
              <a:gd name="connsiteX5" fmla="*/ 0 w 2451228"/>
              <a:gd name="connsiteY5" fmla="*/ 20584 h 12221418"/>
              <a:gd name="connsiteX6" fmla="*/ 0 w 2451228"/>
              <a:gd name="connsiteY6" fmla="*/ 12215762 h 12221418"/>
              <a:gd name="connsiteX0" fmla="*/ 0 w 2451228"/>
              <a:gd name="connsiteY0" fmla="*/ 12202114 h 12207770"/>
              <a:gd name="connsiteX1" fmla="*/ 2033292 w 2451228"/>
              <a:gd name="connsiteY1" fmla="*/ 12207770 h 12207770"/>
              <a:gd name="connsiteX2" fmla="*/ 2344747 w 2451228"/>
              <a:gd name="connsiteY2" fmla="*/ 11893652 h 12207770"/>
              <a:gd name="connsiteX3" fmla="*/ 2451228 w 2451228"/>
              <a:gd name="connsiteY3" fmla="*/ 11691340 h 12207770"/>
              <a:gd name="connsiteX4" fmla="*/ 2441055 w 2451228"/>
              <a:gd name="connsiteY4" fmla="*/ 0 h 12207770"/>
              <a:gd name="connsiteX5" fmla="*/ 0 w 2451228"/>
              <a:gd name="connsiteY5" fmla="*/ 6936 h 12207770"/>
              <a:gd name="connsiteX6" fmla="*/ 0 w 2451228"/>
              <a:gd name="connsiteY6" fmla="*/ 12202114 h 12207770"/>
              <a:gd name="connsiteX0" fmla="*/ 0 w 2451228"/>
              <a:gd name="connsiteY0" fmla="*/ 12195178 h 12200834"/>
              <a:gd name="connsiteX1" fmla="*/ 2033292 w 2451228"/>
              <a:gd name="connsiteY1" fmla="*/ 12200834 h 12200834"/>
              <a:gd name="connsiteX2" fmla="*/ 2344747 w 2451228"/>
              <a:gd name="connsiteY2" fmla="*/ 11886716 h 12200834"/>
              <a:gd name="connsiteX3" fmla="*/ 2451228 w 2451228"/>
              <a:gd name="connsiteY3" fmla="*/ 11684404 h 12200834"/>
              <a:gd name="connsiteX4" fmla="*/ 2439518 w 2451228"/>
              <a:gd name="connsiteY4" fmla="*/ 1656 h 12200834"/>
              <a:gd name="connsiteX5" fmla="*/ 0 w 2451228"/>
              <a:gd name="connsiteY5" fmla="*/ 0 h 12200834"/>
              <a:gd name="connsiteX6" fmla="*/ 0 w 2451228"/>
              <a:gd name="connsiteY6" fmla="*/ 12195178 h 12200834"/>
              <a:gd name="connsiteX0" fmla="*/ 0 w 2451228"/>
              <a:gd name="connsiteY0" fmla="*/ 12195178 h 12195178"/>
              <a:gd name="connsiteX1" fmla="*/ 2018671 w 2451228"/>
              <a:gd name="connsiteY1" fmla="*/ 12192340 h 12195178"/>
              <a:gd name="connsiteX2" fmla="*/ 2344747 w 2451228"/>
              <a:gd name="connsiteY2" fmla="*/ 11886716 h 12195178"/>
              <a:gd name="connsiteX3" fmla="*/ 2451228 w 2451228"/>
              <a:gd name="connsiteY3" fmla="*/ 11684404 h 12195178"/>
              <a:gd name="connsiteX4" fmla="*/ 2439518 w 2451228"/>
              <a:gd name="connsiteY4" fmla="*/ 1656 h 12195178"/>
              <a:gd name="connsiteX5" fmla="*/ 0 w 2451228"/>
              <a:gd name="connsiteY5" fmla="*/ 0 h 12195178"/>
              <a:gd name="connsiteX6" fmla="*/ 0 w 2451228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44747 w 2444782"/>
              <a:gd name="connsiteY2" fmla="*/ 1188671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14573 w 2444782"/>
              <a:gd name="connsiteY2" fmla="*/ 1189850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14573 w 2444782"/>
              <a:gd name="connsiteY2" fmla="*/ 1189850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14573 w 2444782"/>
              <a:gd name="connsiteY2" fmla="*/ 1189850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4956105"/>
              <a:gd name="connsiteY0" fmla="*/ 12195175 h 12195175"/>
              <a:gd name="connsiteX1" fmla="*/ 4529994 w 4956105"/>
              <a:gd name="connsiteY1" fmla="*/ 12192340 h 12195175"/>
              <a:gd name="connsiteX2" fmla="*/ 4825896 w 4956105"/>
              <a:gd name="connsiteY2" fmla="*/ 11898506 h 12195175"/>
              <a:gd name="connsiteX3" fmla="*/ 4956105 w 4956105"/>
              <a:gd name="connsiteY3" fmla="*/ 11651193 h 12195175"/>
              <a:gd name="connsiteX4" fmla="*/ 4950841 w 4956105"/>
              <a:gd name="connsiteY4" fmla="*/ 1656 h 12195175"/>
              <a:gd name="connsiteX5" fmla="*/ 2511323 w 4956105"/>
              <a:gd name="connsiteY5" fmla="*/ 0 h 12195175"/>
              <a:gd name="connsiteX6" fmla="*/ 0 w 4956105"/>
              <a:gd name="connsiteY6" fmla="*/ 12195175 h 12195175"/>
              <a:gd name="connsiteX0" fmla="*/ 0 w 4956105"/>
              <a:gd name="connsiteY0" fmla="*/ 12195174 h 12195174"/>
              <a:gd name="connsiteX1" fmla="*/ 4529994 w 4956105"/>
              <a:gd name="connsiteY1" fmla="*/ 12192339 h 12195174"/>
              <a:gd name="connsiteX2" fmla="*/ 4825896 w 4956105"/>
              <a:gd name="connsiteY2" fmla="*/ 11898505 h 12195174"/>
              <a:gd name="connsiteX3" fmla="*/ 4956105 w 4956105"/>
              <a:gd name="connsiteY3" fmla="*/ 11651192 h 12195174"/>
              <a:gd name="connsiteX4" fmla="*/ 4950841 w 4956105"/>
              <a:gd name="connsiteY4" fmla="*/ 1655 h 12195174"/>
              <a:gd name="connsiteX5" fmla="*/ 0 w 4956105"/>
              <a:gd name="connsiteY5" fmla="*/ 0 h 12195174"/>
              <a:gd name="connsiteX6" fmla="*/ 0 w 4956105"/>
              <a:gd name="connsiteY6" fmla="*/ 12195174 h 12195174"/>
              <a:gd name="connsiteX0" fmla="*/ 998621 w 5954726"/>
              <a:gd name="connsiteY0" fmla="*/ 12195174 h 12195174"/>
              <a:gd name="connsiteX1" fmla="*/ 5528615 w 5954726"/>
              <a:gd name="connsiteY1" fmla="*/ 12192339 h 12195174"/>
              <a:gd name="connsiteX2" fmla="*/ 5824517 w 5954726"/>
              <a:gd name="connsiteY2" fmla="*/ 11898505 h 12195174"/>
              <a:gd name="connsiteX3" fmla="*/ 5954726 w 5954726"/>
              <a:gd name="connsiteY3" fmla="*/ 11651192 h 12195174"/>
              <a:gd name="connsiteX4" fmla="*/ 5949462 w 5954726"/>
              <a:gd name="connsiteY4" fmla="*/ 1655 h 12195174"/>
              <a:gd name="connsiteX5" fmla="*/ 0 w 5954726"/>
              <a:gd name="connsiteY5" fmla="*/ 0 h 12195174"/>
              <a:gd name="connsiteX6" fmla="*/ 998621 w 5954726"/>
              <a:gd name="connsiteY6" fmla="*/ 12195174 h 12195174"/>
              <a:gd name="connsiteX0" fmla="*/ 0 w 5954726"/>
              <a:gd name="connsiteY0" fmla="*/ 12207206 h 12207206"/>
              <a:gd name="connsiteX1" fmla="*/ 5528615 w 5954726"/>
              <a:gd name="connsiteY1" fmla="*/ 12192339 h 12207206"/>
              <a:gd name="connsiteX2" fmla="*/ 5824517 w 5954726"/>
              <a:gd name="connsiteY2" fmla="*/ 11898505 h 12207206"/>
              <a:gd name="connsiteX3" fmla="*/ 5954726 w 5954726"/>
              <a:gd name="connsiteY3" fmla="*/ 11651192 h 12207206"/>
              <a:gd name="connsiteX4" fmla="*/ 5949462 w 5954726"/>
              <a:gd name="connsiteY4" fmla="*/ 1655 h 12207206"/>
              <a:gd name="connsiteX5" fmla="*/ 0 w 5954726"/>
              <a:gd name="connsiteY5" fmla="*/ 0 h 12207206"/>
              <a:gd name="connsiteX6" fmla="*/ 0 w 5954726"/>
              <a:gd name="connsiteY6" fmla="*/ 12207206 h 12207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4726" h="12207206">
                <a:moveTo>
                  <a:pt x="0" y="12207206"/>
                </a:moveTo>
                <a:lnTo>
                  <a:pt x="5528615" y="12192339"/>
                </a:lnTo>
                <a:lnTo>
                  <a:pt x="5824517" y="11898505"/>
                </a:lnTo>
                <a:cubicBezTo>
                  <a:pt x="5925107" y="11801962"/>
                  <a:pt x="5945764" y="11762947"/>
                  <a:pt x="5954726" y="11651192"/>
                </a:cubicBezTo>
                <a:cubicBezTo>
                  <a:pt x="5952951" y="11353047"/>
                  <a:pt x="5951237" y="299800"/>
                  <a:pt x="5949462" y="1655"/>
                </a:cubicBezTo>
                <a:lnTo>
                  <a:pt x="0" y="0"/>
                </a:lnTo>
                <a:lnTo>
                  <a:pt x="0" y="12207206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GB" sz="135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109">
            <a:extLst>
              <a:ext uri="{FF2B5EF4-FFF2-40B4-BE49-F238E27FC236}">
                <a16:creationId xmlns:a16="http://schemas.microsoft.com/office/drawing/2014/main" id="{494782E4-17B8-06A6-9E3E-12CBE12D302B}"/>
              </a:ext>
            </a:extLst>
          </p:cNvPr>
          <p:cNvSpPr txBox="1">
            <a:spLocks/>
          </p:cNvSpPr>
          <p:nvPr userDrawn="1"/>
        </p:nvSpPr>
        <p:spPr>
          <a:xfrm>
            <a:off x="8567403" y="4839477"/>
            <a:ext cx="19526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400">
                <a:solidFill>
                  <a:srgbClr val="FF0000"/>
                </a:solidFill>
                <a:latin typeface="+mn-lt"/>
              </a:defRPr>
            </a:lvl1pPr>
          </a:lstStyle>
          <a:p>
            <a:pPr marL="0" marR="0" lvl="0" indent="0" algn="r" defTabSz="6856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B8A8675-40C0-40D2-8FCE-EA4A25F48F18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61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32A395ED-0449-05FA-83A9-A0D83E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637" y="829099"/>
            <a:ext cx="8484566" cy="230833"/>
          </a:xfrm>
        </p:spPr>
        <p:txBody>
          <a:bodyPr/>
          <a:lstStyle/>
          <a:p>
            <a:endParaRPr lang="en-GB"/>
          </a:p>
        </p:txBody>
      </p:sp>
      <p:pic>
        <p:nvPicPr>
          <p:cNvPr id="2" name="Picture 1" descr="Logo&#10;&#10;Description automatically generated with medium confidence">
            <a:extLst>
              <a:ext uri="{FF2B5EF4-FFF2-40B4-BE49-F238E27FC236}">
                <a16:creationId xmlns:a16="http://schemas.microsoft.com/office/drawing/2014/main" id="{4A86E9AE-4F13-A834-D062-E9B29C06CE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0" y="88049"/>
            <a:ext cx="1241815" cy="459805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C2F6293-93D6-1294-6900-99CC7F7A1F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1802473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2 text columns content">
    <p:bg>
      <p:bgPr>
        <a:solidFill>
          <a:srgbClr val="F8F6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>
            <a:extLst>
              <a:ext uri="{FF2B5EF4-FFF2-40B4-BE49-F238E27FC236}">
                <a16:creationId xmlns:a16="http://schemas.microsoft.com/office/drawing/2014/main" id="{8037BECF-6BB3-A66C-C853-2294404FD355}"/>
              </a:ext>
            </a:extLst>
          </p:cNvPr>
          <p:cNvSpPr/>
          <p:nvPr userDrawn="1"/>
        </p:nvSpPr>
        <p:spPr>
          <a:xfrm rot="16200000">
            <a:off x="2344006" y="-1662027"/>
            <a:ext cx="4465011" cy="9153021"/>
          </a:xfrm>
          <a:custGeom>
            <a:avLst/>
            <a:gdLst>
              <a:gd name="connsiteX0" fmla="*/ 0 w 1134016"/>
              <a:gd name="connsiteY0" fmla="*/ 1408203 h 1410865"/>
              <a:gd name="connsiteX1" fmla="*/ 716080 w 1134016"/>
              <a:gd name="connsiteY1" fmla="*/ 1410865 h 1410865"/>
              <a:gd name="connsiteX2" fmla="*/ 1027535 w 1134016"/>
              <a:gd name="connsiteY2" fmla="*/ 1096747 h 1410865"/>
              <a:gd name="connsiteX3" fmla="*/ 1134016 w 1134016"/>
              <a:gd name="connsiteY3" fmla="*/ 894435 h 1410865"/>
              <a:gd name="connsiteX4" fmla="*/ 1128692 w 1134016"/>
              <a:gd name="connsiteY4" fmla="*/ 0 h 1410865"/>
              <a:gd name="connsiteX5" fmla="*/ 39930 w 1134016"/>
              <a:gd name="connsiteY5" fmla="*/ 0 h 1410865"/>
              <a:gd name="connsiteX6" fmla="*/ 0 w 1134016"/>
              <a:gd name="connsiteY6" fmla="*/ 1408203 h 1410865"/>
              <a:gd name="connsiteX0" fmla="*/ 0 w 5993513"/>
              <a:gd name="connsiteY0" fmla="*/ 1409125 h 1410865"/>
              <a:gd name="connsiteX1" fmla="*/ 5575577 w 5993513"/>
              <a:gd name="connsiteY1" fmla="*/ 1410865 h 1410865"/>
              <a:gd name="connsiteX2" fmla="*/ 5887032 w 5993513"/>
              <a:gd name="connsiteY2" fmla="*/ 1096747 h 1410865"/>
              <a:gd name="connsiteX3" fmla="*/ 5993513 w 5993513"/>
              <a:gd name="connsiteY3" fmla="*/ 894435 h 1410865"/>
              <a:gd name="connsiteX4" fmla="*/ 5988189 w 5993513"/>
              <a:gd name="connsiteY4" fmla="*/ 0 h 1410865"/>
              <a:gd name="connsiteX5" fmla="*/ 4899427 w 5993513"/>
              <a:gd name="connsiteY5" fmla="*/ 0 h 1410865"/>
              <a:gd name="connsiteX6" fmla="*/ 0 w 5993513"/>
              <a:gd name="connsiteY6" fmla="*/ 1409125 h 1410865"/>
              <a:gd name="connsiteX0" fmla="*/ 0 w 5993513"/>
              <a:gd name="connsiteY0" fmla="*/ 6859588 h 6861328"/>
              <a:gd name="connsiteX1" fmla="*/ 5575577 w 5993513"/>
              <a:gd name="connsiteY1" fmla="*/ 6861328 h 6861328"/>
              <a:gd name="connsiteX2" fmla="*/ 5887032 w 5993513"/>
              <a:gd name="connsiteY2" fmla="*/ 6547210 h 6861328"/>
              <a:gd name="connsiteX3" fmla="*/ 5993513 w 5993513"/>
              <a:gd name="connsiteY3" fmla="*/ 6344898 h 6861328"/>
              <a:gd name="connsiteX4" fmla="*/ 5988189 w 5993513"/>
              <a:gd name="connsiteY4" fmla="*/ 5450463 h 6861328"/>
              <a:gd name="connsiteX5" fmla="*/ 1 w 5993513"/>
              <a:gd name="connsiteY5" fmla="*/ 0 h 6861328"/>
              <a:gd name="connsiteX6" fmla="*/ 0 w 5993513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3513"/>
              <a:gd name="connsiteY0" fmla="*/ 12219678 h 12221418"/>
              <a:gd name="connsiteX1" fmla="*/ 5575577 w 5993513"/>
              <a:gd name="connsiteY1" fmla="*/ 12221418 h 12221418"/>
              <a:gd name="connsiteX2" fmla="*/ 5887032 w 5993513"/>
              <a:gd name="connsiteY2" fmla="*/ 11907300 h 12221418"/>
              <a:gd name="connsiteX3" fmla="*/ 5993513 w 5993513"/>
              <a:gd name="connsiteY3" fmla="*/ 11704988 h 12221418"/>
              <a:gd name="connsiteX4" fmla="*/ 5987780 w 5993513"/>
              <a:gd name="connsiteY4" fmla="*/ 0 h 12221418"/>
              <a:gd name="connsiteX5" fmla="*/ 1 w 5993513"/>
              <a:gd name="connsiteY5" fmla="*/ 5360090 h 12221418"/>
              <a:gd name="connsiteX6" fmla="*/ 0 w 5993513"/>
              <a:gd name="connsiteY6" fmla="*/ 12219678 h 12221418"/>
              <a:gd name="connsiteX0" fmla="*/ 3542284 w 5993512"/>
              <a:gd name="connsiteY0" fmla="*/ 12215762 h 12221418"/>
              <a:gd name="connsiteX1" fmla="*/ 5575576 w 5993512"/>
              <a:gd name="connsiteY1" fmla="*/ 12221418 h 12221418"/>
              <a:gd name="connsiteX2" fmla="*/ 5887031 w 5993512"/>
              <a:gd name="connsiteY2" fmla="*/ 11907300 h 12221418"/>
              <a:gd name="connsiteX3" fmla="*/ 5993512 w 5993512"/>
              <a:gd name="connsiteY3" fmla="*/ 11704988 h 12221418"/>
              <a:gd name="connsiteX4" fmla="*/ 5987779 w 5993512"/>
              <a:gd name="connsiteY4" fmla="*/ 0 h 12221418"/>
              <a:gd name="connsiteX5" fmla="*/ 0 w 5993512"/>
              <a:gd name="connsiteY5" fmla="*/ 5360090 h 12221418"/>
              <a:gd name="connsiteX6" fmla="*/ 3542284 w 5993512"/>
              <a:gd name="connsiteY6" fmla="*/ 12215762 h 12221418"/>
              <a:gd name="connsiteX0" fmla="*/ 0 w 2451228"/>
              <a:gd name="connsiteY0" fmla="*/ 12215762 h 12221418"/>
              <a:gd name="connsiteX1" fmla="*/ 2033292 w 2451228"/>
              <a:gd name="connsiteY1" fmla="*/ 12221418 h 12221418"/>
              <a:gd name="connsiteX2" fmla="*/ 2344747 w 2451228"/>
              <a:gd name="connsiteY2" fmla="*/ 11907300 h 12221418"/>
              <a:gd name="connsiteX3" fmla="*/ 2451228 w 2451228"/>
              <a:gd name="connsiteY3" fmla="*/ 11704988 h 12221418"/>
              <a:gd name="connsiteX4" fmla="*/ 2445495 w 2451228"/>
              <a:gd name="connsiteY4" fmla="*/ 0 h 12221418"/>
              <a:gd name="connsiteX5" fmla="*/ 0 w 2451228"/>
              <a:gd name="connsiteY5" fmla="*/ 20584 h 12221418"/>
              <a:gd name="connsiteX6" fmla="*/ 0 w 2451228"/>
              <a:gd name="connsiteY6" fmla="*/ 12215762 h 12221418"/>
              <a:gd name="connsiteX0" fmla="*/ 0 w 2451228"/>
              <a:gd name="connsiteY0" fmla="*/ 12202114 h 12207770"/>
              <a:gd name="connsiteX1" fmla="*/ 2033292 w 2451228"/>
              <a:gd name="connsiteY1" fmla="*/ 12207770 h 12207770"/>
              <a:gd name="connsiteX2" fmla="*/ 2344747 w 2451228"/>
              <a:gd name="connsiteY2" fmla="*/ 11893652 h 12207770"/>
              <a:gd name="connsiteX3" fmla="*/ 2451228 w 2451228"/>
              <a:gd name="connsiteY3" fmla="*/ 11691340 h 12207770"/>
              <a:gd name="connsiteX4" fmla="*/ 2441055 w 2451228"/>
              <a:gd name="connsiteY4" fmla="*/ 0 h 12207770"/>
              <a:gd name="connsiteX5" fmla="*/ 0 w 2451228"/>
              <a:gd name="connsiteY5" fmla="*/ 6936 h 12207770"/>
              <a:gd name="connsiteX6" fmla="*/ 0 w 2451228"/>
              <a:gd name="connsiteY6" fmla="*/ 12202114 h 12207770"/>
              <a:gd name="connsiteX0" fmla="*/ 0 w 2451228"/>
              <a:gd name="connsiteY0" fmla="*/ 12195178 h 12200834"/>
              <a:gd name="connsiteX1" fmla="*/ 2033292 w 2451228"/>
              <a:gd name="connsiteY1" fmla="*/ 12200834 h 12200834"/>
              <a:gd name="connsiteX2" fmla="*/ 2344747 w 2451228"/>
              <a:gd name="connsiteY2" fmla="*/ 11886716 h 12200834"/>
              <a:gd name="connsiteX3" fmla="*/ 2451228 w 2451228"/>
              <a:gd name="connsiteY3" fmla="*/ 11684404 h 12200834"/>
              <a:gd name="connsiteX4" fmla="*/ 2439518 w 2451228"/>
              <a:gd name="connsiteY4" fmla="*/ 1656 h 12200834"/>
              <a:gd name="connsiteX5" fmla="*/ 0 w 2451228"/>
              <a:gd name="connsiteY5" fmla="*/ 0 h 12200834"/>
              <a:gd name="connsiteX6" fmla="*/ 0 w 2451228"/>
              <a:gd name="connsiteY6" fmla="*/ 12195178 h 12200834"/>
              <a:gd name="connsiteX0" fmla="*/ 0 w 2451228"/>
              <a:gd name="connsiteY0" fmla="*/ 12195178 h 12195178"/>
              <a:gd name="connsiteX1" fmla="*/ 2018671 w 2451228"/>
              <a:gd name="connsiteY1" fmla="*/ 12192340 h 12195178"/>
              <a:gd name="connsiteX2" fmla="*/ 2344747 w 2451228"/>
              <a:gd name="connsiteY2" fmla="*/ 11886716 h 12195178"/>
              <a:gd name="connsiteX3" fmla="*/ 2451228 w 2451228"/>
              <a:gd name="connsiteY3" fmla="*/ 11684404 h 12195178"/>
              <a:gd name="connsiteX4" fmla="*/ 2439518 w 2451228"/>
              <a:gd name="connsiteY4" fmla="*/ 1656 h 12195178"/>
              <a:gd name="connsiteX5" fmla="*/ 0 w 2451228"/>
              <a:gd name="connsiteY5" fmla="*/ 0 h 12195178"/>
              <a:gd name="connsiteX6" fmla="*/ 0 w 2451228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44747 w 2444782"/>
              <a:gd name="connsiteY2" fmla="*/ 1188671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14573 w 2444782"/>
              <a:gd name="connsiteY2" fmla="*/ 1189850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14573 w 2444782"/>
              <a:gd name="connsiteY2" fmla="*/ 1189850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14573 w 2444782"/>
              <a:gd name="connsiteY2" fmla="*/ 1189850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4956105"/>
              <a:gd name="connsiteY0" fmla="*/ 12195175 h 12195175"/>
              <a:gd name="connsiteX1" fmla="*/ 4529994 w 4956105"/>
              <a:gd name="connsiteY1" fmla="*/ 12192340 h 12195175"/>
              <a:gd name="connsiteX2" fmla="*/ 4825896 w 4956105"/>
              <a:gd name="connsiteY2" fmla="*/ 11898506 h 12195175"/>
              <a:gd name="connsiteX3" fmla="*/ 4956105 w 4956105"/>
              <a:gd name="connsiteY3" fmla="*/ 11651193 h 12195175"/>
              <a:gd name="connsiteX4" fmla="*/ 4950841 w 4956105"/>
              <a:gd name="connsiteY4" fmla="*/ 1656 h 12195175"/>
              <a:gd name="connsiteX5" fmla="*/ 2511323 w 4956105"/>
              <a:gd name="connsiteY5" fmla="*/ 0 h 12195175"/>
              <a:gd name="connsiteX6" fmla="*/ 0 w 4956105"/>
              <a:gd name="connsiteY6" fmla="*/ 12195175 h 12195175"/>
              <a:gd name="connsiteX0" fmla="*/ 0 w 4956105"/>
              <a:gd name="connsiteY0" fmla="*/ 12195174 h 12195174"/>
              <a:gd name="connsiteX1" fmla="*/ 4529994 w 4956105"/>
              <a:gd name="connsiteY1" fmla="*/ 12192339 h 12195174"/>
              <a:gd name="connsiteX2" fmla="*/ 4825896 w 4956105"/>
              <a:gd name="connsiteY2" fmla="*/ 11898505 h 12195174"/>
              <a:gd name="connsiteX3" fmla="*/ 4956105 w 4956105"/>
              <a:gd name="connsiteY3" fmla="*/ 11651192 h 12195174"/>
              <a:gd name="connsiteX4" fmla="*/ 4950841 w 4956105"/>
              <a:gd name="connsiteY4" fmla="*/ 1655 h 12195174"/>
              <a:gd name="connsiteX5" fmla="*/ 0 w 4956105"/>
              <a:gd name="connsiteY5" fmla="*/ 0 h 12195174"/>
              <a:gd name="connsiteX6" fmla="*/ 0 w 4956105"/>
              <a:gd name="connsiteY6" fmla="*/ 12195174 h 12195174"/>
              <a:gd name="connsiteX0" fmla="*/ 998621 w 5954726"/>
              <a:gd name="connsiteY0" fmla="*/ 12195174 h 12195174"/>
              <a:gd name="connsiteX1" fmla="*/ 5528615 w 5954726"/>
              <a:gd name="connsiteY1" fmla="*/ 12192339 h 12195174"/>
              <a:gd name="connsiteX2" fmla="*/ 5824517 w 5954726"/>
              <a:gd name="connsiteY2" fmla="*/ 11898505 h 12195174"/>
              <a:gd name="connsiteX3" fmla="*/ 5954726 w 5954726"/>
              <a:gd name="connsiteY3" fmla="*/ 11651192 h 12195174"/>
              <a:gd name="connsiteX4" fmla="*/ 5949462 w 5954726"/>
              <a:gd name="connsiteY4" fmla="*/ 1655 h 12195174"/>
              <a:gd name="connsiteX5" fmla="*/ 0 w 5954726"/>
              <a:gd name="connsiteY5" fmla="*/ 0 h 12195174"/>
              <a:gd name="connsiteX6" fmla="*/ 998621 w 5954726"/>
              <a:gd name="connsiteY6" fmla="*/ 12195174 h 12195174"/>
              <a:gd name="connsiteX0" fmla="*/ 0 w 5954726"/>
              <a:gd name="connsiteY0" fmla="*/ 12207206 h 12207206"/>
              <a:gd name="connsiteX1" fmla="*/ 5528615 w 5954726"/>
              <a:gd name="connsiteY1" fmla="*/ 12192339 h 12207206"/>
              <a:gd name="connsiteX2" fmla="*/ 5824517 w 5954726"/>
              <a:gd name="connsiteY2" fmla="*/ 11898505 h 12207206"/>
              <a:gd name="connsiteX3" fmla="*/ 5954726 w 5954726"/>
              <a:gd name="connsiteY3" fmla="*/ 11651192 h 12207206"/>
              <a:gd name="connsiteX4" fmla="*/ 5949462 w 5954726"/>
              <a:gd name="connsiteY4" fmla="*/ 1655 h 12207206"/>
              <a:gd name="connsiteX5" fmla="*/ 0 w 5954726"/>
              <a:gd name="connsiteY5" fmla="*/ 0 h 12207206"/>
              <a:gd name="connsiteX6" fmla="*/ 0 w 5954726"/>
              <a:gd name="connsiteY6" fmla="*/ 12207206 h 12207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4726" h="12207206">
                <a:moveTo>
                  <a:pt x="0" y="12207206"/>
                </a:moveTo>
                <a:lnTo>
                  <a:pt x="5528615" y="12192339"/>
                </a:lnTo>
                <a:lnTo>
                  <a:pt x="5824517" y="11898505"/>
                </a:lnTo>
                <a:cubicBezTo>
                  <a:pt x="5925107" y="11801962"/>
                  <a:pt x="5945764" y="11762947"/>
                  <a:pt x="5954726" y="11651192"/>
                </a:cubicBezTo>
                <a:cubicBezTo>
                  <a:pt x="5952951" y="11353047"/>
                  <a:pt x="5951237" y="299800"/>
                  <a:pt x="5949462" y="1655"/>
                </a:cubicBezTo>
                <a:lnTo>
                  <a:pt x="0" y="0"/>
                </a:lnTo>
                <a:lnTo>
                  <a:pt x="0" y="12207206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GB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007516BC-CDBD-A3BF-A146-F6FB7333BE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637" y="829099"/>
            <a:ext cx="6479033" cy="230833"/>
          </a:xfrm>
        </p:spPr>
        <p:txBody>
          <a:bodyPr/>
          <a:lstStyle/>
          <a:p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6616" y="1581834"/>
            <a:ext cx="3889318" cy="248516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3"/>
          </p:nvPr>
        </p:nvSpPr>
        <p:spPr>
          <a:xfrm>
            <a:off x="4649596" y="1581834"/>
            <a:ext cx="3889318" cy="248516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6031F6F5-239A-B240-B54D-5C3B83A76B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7337" y="1167920"/>
            <a:ext cx="8489327" cy="154745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Amalia Medium" pitchFamily="34" charset="0"/>
              </a:defRPr>
            </a:lvl1pPr>
          </a:lstStyle>
          <a:p>
            <a:pPr lvl="0"/>
            <a:r>
              <a:rPr lang="en-US"/>
              <a:t>Secondary heading goes here – 14pt</a:t>
            </a:r>
            <a:endParaRPr lang="en-GB"/>
          </a:p>
        </p:txBody>
      </p:sp>
      <p:sp>
        <p:nvSpPr>
          <p:cNvPr id="3" name="Slide Number Placeholder 109">
            <a:extLst>
              <a:ext uri="{FF2B5EF4-FFF2-40B4-BE49-F238E27FC236}">
                <a16:creationId xmlns:a16="http://schemas.microsoft.com/office/drawing/2014/main" id="{0568C976-A1D0-00C1-B4E8-838BC2D6E717}"/>
              </a:ext>
            </a:extLst>
          </p:cNvPr>
          <p:cNvSpPr txBox="1">
            <a:spLocks/>
          </p:cNvSpPr>
          <p:nvPr userDrawn="1"/>
        </p:nvSpPr>
        <p:spPr>
          <a:xfrm>
            <a:off x="8567403" y="4839477"/>
            <a:ext cx="19526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400">
                <a:solidFill>
                  <a:srgbClr val="FF0000"/>
                </a:solidFill>
                <a:latin typeface="+mn-lt"/>
              </a:defRPr>
            </a:lvl1pPr>
          </a:lstStyle>
          <a:p>
            <a:pPr marL="0" marR="0" lvl="0" indent="0" algn="r" defTabSz="6856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B8A8675-40C0-40D2-8FCE-EA4A25F48F18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61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" name="Picture 1" descr="Logo&#10;&#10;Description automatically generated with medium confidence">
            <a:extLst>
              <a:ext uri="{FF2B5EF4-FFF2-40B4-BE49-F238E27FC236}">
                <a16:creationId xmlns:a16="http://schemas.microsoft.com/office/drawing/2014/main" id="{8FDBDEB9-52D3-AE1C-C661-E173BAE839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0" y="88049"/>
            <a:ext cx="1241815" cy="459805"/>
          </a:xfrm>
          <a:prstGeom prst="rect">
            <a:avLst/>
          </a:prstGeom>
        </p:spPr>
      </p:pic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FD59ABE-7149-75D9-8A73-0FE1D6F048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9672289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text and image content">
    <p:bg>
      <p:bgPr>
        <a:blipFill dpi="0" rotWithShape="1">
          <a:blip r:embed="rId2" cstate="print">
            <a:lum/>
          </a:blip>
          <a:srcRect/>
          <a:stretch>
            <a:fillRect l="-100" t="-100" r="-100" b="-1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F8FCA32-F053-9B82-C171-71FD059E5E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auto">
          <a:xfrm>
            <a:off x="-16403" y="-1305"/>
            <a:ext cx="9160402" cy="5144805"/>
          </a:xfrm>
          <a:custGeom>
            <a:avLst/>
            <a:gdLst>
              <a:gd name="connsiteX0" fmla="*/ 21875 w 12217050"/>
              <a:gd name="connsiteY0" fmla="*/ 6859595 h 6861328"/>
              <a:gd name="connsiteX1" fmla="*/ 5675401 w 12217050"/>
              <a:gd name="connsiteY1" fmla="*/ 6861328 h 6861328"/>
              <a:gd name="connsiteX2" fmla="*/ 21875 w 12217050"/>
              <a:gd name="connsiteY2" fmla="*/ 6861328 h 6861328"/>
              <a:gd name="connsiteX3" fmla="*/ 6095821 w 12217050"/>
              <a:gd name="connsiteY3" fmla="*/ 1740 h 6861328"/>
              <a:gd name="connsiteX4" fmla="*/ 12217050 w 12217050"/>
              <a:gd name="connsiteY4" fmla="*/ 1740 h 6861328"/>
              <a:gd name="connsiteX5" fmla="*/ 12217050 w 12217050"/>
              <a:gd name="connsiteY5" fmla="*/ 6861328 h 6861328"/>
              <a:gd name="connsiteX6" fmla="*/ 5675401 w 12217050"/>
              <a:gd name="connsiteY6" fmla="*/ 6861328 h 6861328"/>
              <a:gd name="connsiteX7" fmla="*/ 5986856 w 12217050"/>
              <a:gd name="connsiteY7" fmla="*/ 6547210 h 6861328"/>
              <a:gd name="connsiteX8" fmla="*/ 6093337 w 12217050"/>
              <a:gd name="connsiteY8" fmla="*/ 6344898 h 6861328"/>
              <a:gd name="connsiteX9" fmla="*/ 6095891 w 12217050"/>
              <a:gd name="connsiteY9" fmla="*/ 17926 h 6861328"/>
              <a:gd name="connsiteX10" fmla="*/ 0 w 12217050"/>
              <a:gd name="connsiteY10" fmla="*/ 0 h 6861328"/>
              <a:gd name="connsiteX11" fmla="*/ 6095813 w 12217050"/>
              <a:gd name="connsiteY11" fmla="*/ 0 h 6861328"/>
              <a:gd name="connsiteX12" fmla="*/ 6095821 w 12217050"/>
              <a:gd name="connsiteY12" fmla="*/ 1740 h 6861328"/>
              <a:gd name="connsiteX13" fmla="*/ 21875 w 12217050"/>
              <a:gd name="connsiteY13" fmla="*/ 1740 h 6861328"/>
              <a:gd name="connsiteX14" fmla="*/ 21875 w 12217050"/>
              <a:gd name="connsiteY14" fmla="*/ 6859595 h 6861328"/>
              <a:gd name="connsiteX15" fmla="*/ 0 w 12217050"/>
              <a:gd name="connsiteY15" fmla="*/ 6859588 h 686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217050" h="6861328">
                <a:moveTo>
                  <a:pt x="21875" y="6859595"/>
                </a:moveTo>
                <a:lnTo>
                  <a:pt x="5675401" y="6861328"/>
                </a:lnTo>
                <a:lnTo>
                  <a:pt x="21875" y="6861328"/>
                </a:lnTo>
                <a:close/>
                <a:moveTo>
                  <a:pt x="6095821" y="1740"/>
                </a:moveTo>
                <a:lnTo>
                  <a:pt x="12217050" y="1740"/>
                </a:lnTo>
                <a:lnTo>
                  <a:pt x="12217050" y="6861328"/>
                </a:lnTo>
                <a:lnTo>
                  <a:pt x="5675401" y="6861328"/>
                </a:lnTo>
                <a:lnTo>
                  <a:pt x="5986856" y="6547210"/>
                </a:lnTo>
                <a:cubicBezTo>
                  <a:pt x="6053796" y="6480608"/>
                  <a:pt x="6093276" y="6394128"/>
                  <a:pt x="6093337" y="6344898"/>
                </a:cubicBezTo>
                <a:cubicBezTo>
                  <a:pt x="6091590" y="6051412"/>
                  <a:pt x="6097402" y="476458"/>
                  <a:pt x="6095891" y="17926"/>
                </a:cubicBezTo>
                <a:close/>
                <a:moveTo>
                  <a:pt x="0" y="0"/>
                </a:moveTo>
                <a:lnTo>
                  <a:pt x="6095813" y="0"/>
                </a:lnTo>
                <a:lnTo>
                  <a:pt x="6095821" y="1740"/>
                </a:lnTo>
                <a:lnTo>
                  <a:pt x="21875" y="1740"/>
                </a:lnTo>
                <a:lnTo>
                  <a:pt x="21875" y="6859595"/>
                </a:lnTo>
                <a:lnTo>
                  <a:pt x="0" y="6859588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noAutofit/>
          </a:bodyPr>
          <a:lstStyle/>
          <a:p>
            <a:endParaRPr lang="en-AT"/>
          </a:p>
        </p:txBody>
      </p:sp>
      <p:sp>
        <p:nvSpPr>
          <p:cNvPr id="20" name="Freeform 19"/>
          <p:cNvSpPr/>
          <p:nvPr userDrawn="1"/>
        </p:nvSpPr>
        <p:spPr>
          <a:xfrm>
            <a:off x="0" y="0"/>
            <a:ext cx="4572000" cy="5144805"/>
          </a:xfrm>
          <a:custGeom>
            <a:avLst/>
            <a:gdLst>
              <a:gd name="connsiteX0" fmla="*/ 0 w 1134016"/>
              <a:gd name="connsiteY0" fmla="*/ 1408203 h 1410865"/>
              <a:gd name="connsiteX1" fmla="*/ 716080 w 1134016"/>
              <a:gd name="connsiteY1" fmla="*/ 1410865 h 1410865"/>
              <a:gd name="connsiteX2" fmla="*/ 1027535 w 1134016"/>
              <a:gd name="connsiteY2" fmla="*/ 1096747 h 1410865"/>
              <a:gd name="connsiteX3" fmla="*/ 1134016 w 1134016"/>
              <a:gd name="connsiteY3" fmla="*/ 894435 h 1410865"/>
              <a:gd name="connsiteX4" fmla="*/ 1128692 w 1134016"/>
              <a:gd name="connsiteY4" fmla="*/ 0 h 1410865"/>
              <a:gd name="connsiteX5" fmla="*/ 39930 w 1134016"/>
              <a:gd name="connsiteY5" fmla="*/ 0 h 1410865"/>
              <a:gd name="connsiteX6" fmla="*/ 0 w 1134016"/>
              <a:gd name="connsiteY6" fmla="*/ 1408203 h 1410865"/>
              <a:gd name="connsiteX0" fmla="*/ 0 w 5993513"/>
              <a:gd name="connsiteY0" fmla="*/ 1409125 h 1410865"/>
              <a:gd name="connsiteX1" fmla="*/ 5575577 w 5993513"/>
              <a:gd name="connsiteY1" fmla="*/ 1410865 h 1410865"/>
              <a:gd name="connsiteX2" fmla="*/ 5887032 w 5993513"/>
              <a:gd name="connsiteY2" fmla="*/ 1096747 h 1410865"/>
              <a:gd name="connsiteX3" fmla="*/ 5993513 w 5993513"/>
              <a:gd name="connsiteY3" fmla="*/ 894435 h 1410865"/>
              <a:gd name="connsiteX4" fmla="*/ 5988189 w 5993513"/>
              <a:gd name="connsiteY4" fmla="*/ 0 h 1410865"/>
              <a:gd name="connsiteX5" fmla="*/ 4899427 w 5993513"/>
              <a:gd name="connsiteY5" fmla="*/ 0 h 1410865"/>
              <a:gd name="connsiteX6" fmla="*/ 0 w 5993513"/>
              <a:gd name="connsiteY6" fmla="*/ 1409125 h 1410865"/>
              <a:gd name="connsiteX0" fmla="*/ 0 w 5993513"/>
              <a:gd name="connsiteY0" fmla="*/ 6859588 h 6861328"/>
              <a:gd name="connsiteX1" fmla="*/ 5575577 w 5993513"/>
              <a:gd name="connsiteY1" fmla="*/ 6861328 h 6861328"/>
              <a:gd name="connsiteX2" fmla="*/ 5887032 w 5993513"/>
              <a:gd name="connsiteY2" fmla="*/ 6547210 h 6861328"/>
              <a:gd name="connsiteX3" fmla="*/ 5993513 w 5993513"/>
              <a:gd name="connsiteY3" fmla="*/ 6344898 h 6861328"/>
              <a:gd name="connsiteX4" fmla="*/ 5988189 w 5993513"/>
              <a:gd name="connsiteY4" fmla="*/ 5450463 h 6861328"/>
              <a:gd name="connsiteX5" fmla="*/ 1 w 5993513"/>
              <a:gd name="connsiteY5" fmla="*/ 0 h 6861328"/>
              <a:gd name="connsiteX6" fmla="*/ 0 w 5993513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99824 w 6097588"/>
              <a:gd name="connsiteY0" fmla="*/ 6859588 h 6861328"/>
              <a:gd name="connsiteX1" fmla="*/ 5675401 w 6097588"/>
              <a:gd name="connsiteY1" fmla="*/ 6861328 h 6861328"/>
              <a:gd name="connsiteX2" fmla="*/ 5986856 w 6097588"/>
              <a:gd name="connsiteY2" fmla="*/ 6547210 h 6861328"/>
              <a:gd name="connsiteX3" fmla="*/ 6093337 w 6097588"/>
              <a:gd name="connsiteY3" fmla="*/ 6344898 h 6861328"/>
              <a:gd name="connsiteX4" fmla="*/ 6095813 w 6097588"/>
              <a:gd name="connsiteY4" fmla="*/ 0 h 6861328"/>
              <a:gd name="connsiteX5" fmla="*/ 0 w 6097588"/>
              <a:gd name="connsiteY5" fmla="*/ 0 h 6861328"/>
              <a:gd name="connsiteX6" fmla="*/ 99824 w 6097588"/>
              <a:gd name="connsiteY6" fmla="*/ 6859588 h 6861328"/>
              <a:gd name="connsiteX0" fmla="*/ 0 w 6097588"/>
              <a:gd name="connsiteY0" fmla="*/ 6859588 h 6861328"/>
              <a:gd name="connsiteX1" fmla="*/ 5675401 w 6097588"/>
              <a:gd name="connsiteY1" fmla="*/ 6861328 h 6861328"/>
              <a:gd name="connsiteX2" fmla="*/ 5986856 w 6097588"/>
              <a:gd name="connsiteY2" fmla="*/ 6547210 h 6861328"/>
              <a:gd name="connsiteX3" fmla="*/ 6093337 w 6097588"/>
              <a:gd name="connsiteY3" fmla="*/ 6344898 h 6861328"/>
              <a:gd name="connsiteX4" fmla="*/ 6095813 w 6097588"/>
              <a:gd name="connsiteY4" fmla="*/ 0 h 6861328"/>
              <a:gd name="connsiteX5" fmla="*/ 0 w 6097588"/>
              <a:gd name="connsiteY5" fmla="*/ 0 h 6861328"/>
              <a:gd name="connsiteX6" fmla="*/ 0 w 6097588"/>
              <a:gd name="connsiteY6" fmla="*/ 6859588 h 686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7588" h="6861328">
                <a:moveTo>
                  <a:pt x="0" y="6859588"/>
                </a:moveTo>
                <a:lnTo>
                  <a:pt x="5675401" y="6861328"/>
                </a:lnTo>
                <a:lnTo>
                  <a:pt x="5986856" y="6547210"/>
                </a:lnTo>
                <a:cubicBezTo>
                  <a:pt x="6053796" y="6480608"/>
                  <a:pt x="6093276" y="6394128"/>
                  <a:pt x="6093337" y="6344898"/>
                </a:cubicBezTo>
                <a:cubicBezTo>
                  <a:pt x="6091562" y="6046753"/>
                  <a:pt x="6097588" y="298145"/>
                  <a:pt x="6095813" y="0"/>
                </a:cubicBezTo>
                <a:lnTo>
                  <a:pt x="0" y="0"/>
                </a:lnTo>
                <a:lnTo>
                  <a:pt x="0" y="6859588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GB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6616" y="1815841"/>
            <a:ext cx="3889318" cy="248516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769AE458-58AA-9C4C-A466-344B24DB15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986" y="1005938"/>
            <a:ext cx="3920062" cy="230833"/>
          </a:xfrm>
        </p:spPr>
        <p:txBody>
          <a:bodyPr/>
          <a:lstStyle/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44E6A2-7882-6AA3-55A5-834AE56C86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7337" y="1437887"/>
            <a:ext cx="3920711" cy="154745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Amalia Medium" pitchFamily="34" charset="0"/>
              </a:defRPr>
            </a:lvl1pPr>
          </a:lstStyle>
          <a:p>
            <a:pPr lvl="0"/>
            <a:r>
              <a:rPr lang="en-US"/>
              <a:t>Secondary heading goes here – 14pt</a:t>
            </a:r>
            <a:endParaRPr lang="en-GB"/>
          </a:p>
        </p:txBody>
      </p:sp>
      <p:sp>
        <p:nvSpPr>
          <p:cNvPr id="7" name="Slide Number Placeholder 109">
            <a:extLst>
              <a:ext uri="{FF2B5EF4-FFF2-40B4-BE49-F238E27FC236}">
                <a16:creationId xmlns:a16="http://schemas.microsoft.com/office/drawing/2014/main" id="{B6DE157E-AA29-8D77-7194-D09DE3734813}"/>
              </a:ext>
            </a:extLst>
          </p:cNvPr>
          <p:cNvSpPr txBox="1">
            <a:spLocks/>
          </p:cNvSpPr>
          <p:nvPr userDrawn="1"/>
        </p:nvSpPr>
        <p:spPr>
          <a:xfrm>
            <a:off x="8567403" y="4839477"/>
            <a:ext cx="195267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400">
                <a:solidFill>
                  <a:srgbClr val="FF0000"/>
                </a:solidFill>
                <a:latin typeface="+mn-lt"/>
              </a:defRPr>
            </a:lvl1pPr>
          </a:lstStyle>
          <a:p>
            <a:pPr marL="0" marR="0" lvl="0" indent="0" algn="r" defTabSz="6856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B8A8675-40C0-40D2-8FCE-EA4A25F48F18}" type="slidenum">
              <a:rPr kumimoji="0" lang="en-GB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61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" name="Picture 1" descr="Logo&#10;&#10;Description automatically generated with medium confidence">
            <a:extLst>
              <a:ext uri="{FF2B5EF4-FFF2-40B4-BE49-F238E27FC236}">
                <a16:creationId xmlns:a16="http://schemas.microsoft.com/office/drawing/2014/main" id="{6F05B9AA-F112-09C8-85B8-3959E8821F5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0" y="88049"/>
            <a:ext cx="1241815" cy="459805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26F9DAE-D5AB-ADFC-23B4-4E5F6BADE87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7536046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3 Columns Content">
    <p:bg>
      <p:bgPr>
        <a:solidFill>
          <a:srgbClr val="FFD40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/>
          <p:cNvSpPr/>
          <p:nvPr userDrawn="1"/>
        </p:nvSpPr>
        <p:spPr>
          <a:xfrm>
            <a:off x="2163960" y="0"/>
            <a:ext cx="4497152" cy="5144805"/>
          </a:xfrm>
          <a:custGeom>
            <a:avLst/>
            <a:gdLst>
              <a:gd name="connsiteX0" fmla="*/ 0 w 1134016"/>
              <a:gd name="connsiteY0" fmla="*/ 1408203 h 1410865"/>
              <a:gd name="connsiteX1" fmla="*/ 716080 w 1134016"/>
              <a:gd name="connsiteY1" fmla="*/ 1410865 h 1410865"/>
              <a:gd name="connsiteX2" fmla="*/ 1027535 w 1134016"/>
              <a:gd name="connsiteY2" fmla="*/ 1096747 h 1410865"/>
              <a:gd name="connsiteX3" fmla="*/ 1134016 w 1134016"/>
              <a:gd name="connsiteY3" fmla="*/ 894435 h 1410865"/>
              <a:gd name="connsiteX4" fmla="*/ 1128692 w 1134016"/>
              <a:gd name="connsiteY4" fmla="*/ 0 h 1410865"/>
              <a:gd name="connsiteX5" fmla="*/ 39930 w 1134016"/>
              <a:gd name="connsiteY5" fmla="*/ 0 h 1410865"/>
              <a:gd name="connsiteX6" fmla="*/ 0 w 1134016"/>
              <a:gd name="connsiteY6" fmla="*/ 1408203 h 1410865"/>
              <a:gd name="connsiteX0" fmla="*/ 0 w 5993513"/>
              <a:gd name="connsiteY0" fmla="*/ 1409125 h 1410865"/>
              <a:gd name="connsiteX1" fmla="*/ 5575577 w 5993513"/>
              <a:gd name="connsiteY1" fmla="*/ 1410865 h 1410865"/>
              <a:gd name="connsiteX2" fmla="*/ 5887032 w 5993513"/>
              <a:gd name="connsiteY2" fmla="*/ 1096747 h 1410865"/>
              <a:gd name="connsiteX3" fmla="*/ 5993513 w 5993513"/>
              <a:gd name="connsiteY3" fmla="*/ 894435 h 1410865"/>
              <a:gd name="connsiteX4" fmla="*/ 5988189 w 5993513"/>
              <a:gd name="connsiteY4" fmla="*/ 0 h 1410865"/>
              <a:gd name="connsiteX5" fmla="*/ 4899427 w 5993513"/>
              <a:gd name="connsiteY5" fmla="*/ 0 h 1410865"/>
              <a:gd name="connsiteX6" fmla="*/ 0 w 5993513"/>
              <a:gd name="connsiteY6" fmla="*/ 1409125 h 1410865"/>
              <a:gd name="connsiteX0" fmla="*/ 0 w 5993513"/>
              <a:gd name="connsiteY0" fmla="*/ 6859588 h 6861328"/>
              <a:gd name="connsiteX1" fmla="*/ 5575577 w 5993513"/>
              <a:gd name="connsiteY1" fmla="*/ 6861328 h 6861328"/>
              <a:gd name="connsiteX2" fmla="*/ 5887032 w 5993513"/>
              <a:gd name="connsiteY2" fmla="*/ 6547210 h 6861328"/>
              <a:gd name="connsiteX3" fmla="*/ 5993513 w 5993513"/>
              <a:gd name="connsiteY3" fmla="*/ 6344898 h 6861328"/>
              <a:gd name="connsiteX4" fmla="*/ 5988189 w 5993513"/>
              <a:gd name="connsiteY4" fmla="*/ 5450463 h 6861328"/>
              <a:gd name="connsiteX5" fmla="*/ 1 w 5993513"/>
              <a:gd name="connsiteY5" fmla="*/ 0 h 6861328"/>
              <a:gd name="connsiteX6" fmla="*/ 0 w 5993513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97764" h="6861328">
                <a:moveTo>
                  <a:pt x="0" y="6859588"/>
                </a:moveTo>
                <a:lnTo>
                  <a:pt x="5575577" y="6861328"/>
                </a:lnTo>
                <a:lnTo>
                  <a:pt x="5887032" y="6547210"/>
                </a:lnTo>
                <a:cubicBezTo>
                  <a:pt x="5953972" y="6480608"/>
                  <a:pt x="5993452" y="6394128"/>
                  <a:pt x="5993513" y="6344898"/>
                </a:cubicBezTo>
                <a:cubicBezTo>
                  <a:pt x="5991738" y="6046753"/>
                  <a:pt x="5997764" y="298145"/>
                  <a:pt x="5995989" y="0"/>
                </a:cubicBezTo>
                <a:lnTo>
                  <a:pt x="1" y="0"/>
                </a:lnTo>
                <a:cubicBezTo>
                  <a:pt x="1" y="2286529"/>
                  <a:pt x="0" y="4573059"/>
                  <a:pt x="0" y="6859588"/>
                </a:cubicBez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GB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Freeform 20"/>
          <p:cNvSpPr/>
          <p:nvPr userDrawn="1"/>
        </p:nvSpPr>
        <p:spPr>
          <a:xfrm>
            <a:off x="0" y="0"/>
            <a:ext cx="4497152" cy="5144805"/>
          </a:xfrm>
          <a:custGeom>
            <a:avLst/>
            <a:gdLst>
              <a:gd name="connsiteX0" fmla="*/ 0 w 1134016"/>
              <a:gd name="connsiteY0" fmla="*/ 1408203 h 1410865"/>
              <a:gd name="connsiteX1" fmla="*/ 716080 w 1134016"/>
              <a:gd name="connsiteY1" fmla="*/ 1410865 h 1410865"/>
              <a:gd name="connsiteX2" fmla="*/ 1027535 w 1134016"/>
              <a:gd name="connsiteY2" fmla="*/ 1096747 h 1410865"/>
              <a:gd name="connsiteX3" fmla="*/ 1134016 w 1134016"/>
              <a:gd name="connsiteY3" fmla="*/ 894435 h 1410865"/>
              <a:gd name="connsiteX4" fmla="*/ 1128692 w 1134016"/>
              <a:gd name="connsiteY4" fmla="*/ 0 h 1410865"/>
              <a:gd name="connsiteX5" fmla="*/ 39930 w 1134016"/>
              <a:gd name="connsiteY5" fmla="*/ 0 h 1410865"/>
              <a:gd name="connsiteX6" fmla="*/ 0 w 1134016"/>
              <a:gd name="connsiteY6" fmla="*/ 1408203 h 1410865"/>
              <a:gd name="connsiteX0" fmla="*/ 0 w 5993513"/>
              <a:gd name="connsiteY0" fmla="*/ 1409125 h 1410865"/>
              <a:gd name="connsiteX1" fmla="*/ 5575577 w 5993513"/>
              <a:gd name="connsiteY1" fmla="*/ 1410865 h 1410865"/>
              <a:gd name="connsiteX2" fmla="*/ 5887032 w 5993513"/>
              <a:gd name="connsiteY2" fmla="*/ 1096747 h 1410865"/>
              <a:gd name="connsiteX3" fmla="*/ 5993513 w 5993513"/>
              <a:gd name="connsiteY3" fmla="*/ 894435 h 1410865"/>
              <a:gd name="connsiteX4" fmla="*/ 5988189 w 5993513"/>
              <a:gd name="connsiteY4" fmla="*/ 0 h 1410865"/>
              <a:gd name="connsiteX5" fmla="*/ 4899427 w 5993513"/>
              <a:gd name="connsiteY5" fmla="*/ 0 h 1410865"/>
              <a:gd name="connsiteX6" fmla="*/ 0 w 5993513"/>
              <a:gd name="connsiteY6" fmla="*/ 1409125 h 1410865"/>
              <a:gd name="connsiteX0" fmla="*/ 0 w 5993513"/>
              <a:gd name="connsiteY0" fmla="*/ 6859588 h 6861328"/>
              <a:gd name="connsiteX1" fmla="*/ 5575577 w 5993513"/>
              <a:gd name="connsiteY1" fmla="*/ 6861328 h 6861328"/>
              <a:gd name="connsiteX2" fmla="*/ 5887032 w 5993513"/>
              <a:gd name="connsiteY2" fmla="*/ 6547210 h 6861328"/>
              <a:gd name="connsiteX3" fmla="*/ 5993513 w 5993513"/>
              <a:gd name="connsiteY3" fmla="*/ 6344898 h 6861328"/>
              <a:gd name="connsiteX4" fmla="*/ 5988189 w 5993513"/>
              <a:gd name="connsiteY4" fmla="*/ 5450463 h 6861328"/>
              <a:gd name="connsiteX5" fmla="*/ 1 w 5993513"/>
              <a:gd name="connsiteY5" fmla="*/ 0 h 6861328"/>
              <a:gd name="connsiteX6" fmla="*/ 0 w 5993513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97764" h="6861328">
                <a:moveTo>
                  <a:pt x="0" y="6859588"/>
                </a:moveTo>
                <a:lnTo>
                  <a:pt x="5575577" y="6861328"/>
                </a:lnTo>
                <a:lnTo>
                  <a:pt x="5887032" y="6547210"/>
                </a:lnTo>
                <a:cubicBezTo>
                  <a:pt x="5953972" y="6480608"/>
                  <a:pt x="5993452" y="6394128"/>
                  <a:pt x="5993513" y="6344898"/>
                </a:cubicBezTo>
                <a:cubicBezTo>
                  <a:pt x="5991738" y="6046753"/>
                  <a:pt x="5997764" y="298145"/>
                  <a:pt x="5995989" y="0"/>
                </a:cubicBezTo>
                <a:lnTo>
                  <a:pt x="1" y="0"/>
                </a:lnTo>
                <a:cubicBezTo>
                  <a:pt x="1" y="2286529"/>
                  <a:pt x="0" y="4573059"/>
                  <a:pt x="0" y="6859588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GB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6616" y="1491880"/>
            <a:ext cx="3889318" cy="248516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4641720" y="1233135"/>
            <a:ext cx="1975514" cy="2485168"/>
          </a:xfrm>
        </p:spPr>
        <p:txBody>
          <a:bodyPr/>
          <a:lstStyle>
            <a:lvl1pPr>
              <a:lnSpc>
                <a:spcPct val="100000"/>
              </a:lnSpc>
              <a:spcAft>
                <a:spcPts val="1650"/>
              </a:spcAft>
              <a:defRPr sz="3449">
                <a:solidFill>
                  <a:schemeClr val="tx2"/>
                </a:solidFill>
                <a:latin typeface="Amalia Medium" pitchFamily="34" charset="0"/>
              </a:defRPr>
            </a:lvl1pPr>
            <a:lvl2pPr marL="0" indent="0">
              <a:lnSpc>
                <a:spcPct val="110000"/>
              </a:lnSpc>
              <a:buFontTx/>
              <a:buNone/>
              <a:defRPr sz="1350">
                <a:solidFill>
                  <a:schemeClr val="tx2"/>
                </a:solidFill>
              </a:defRPr>
            </a:lvl2pPr>
            <a:lvl3pPr marL="0" indent="0">
              <a:buNone/>
              <a:defRPr sz="1050">
                <a:solidFill>
                  <a:schemeClr val="tx2"/>
                </a:solidFill>
              </a:defRPr>
            </a:lvl3pPr>
            <a:lvl4pPr marL="134964">
              <a:spcBef>
                <a:spcPts val="525"/>
              </a:spcBef>
              <a:buFontTx/>
              <a:buBlip>
                <a:blip r:embed="rId2"/>
              </a:buBlip>
              <a:defRPr sz="105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Content Placeholder 5"/>
          <p:cNvSpPr>
            <a:spLocks noGrp="1"/>
          </p:cNvSpPr>
          <p:nvPr>
            <p:ph sz="quarter" idx="14" hasCustomPrompt="1"/>
          </p:nvPr>
        </p:nvSpPr>
        <p:spPr>
          <a:xfrm>
            <a:off x="6796531" y="1233135"/>
            <a:ext cx="1975514" cy="2485168"/>
          </a:xfrm>
        </p:spPr>
        <p:txBody>
          <a:bodyPr/>
          <a:lstStyle>
            <a:lvl1pPr>
              <a:lnSpc>
                <a:spcPct val="100000"/>
              </a:lnSpc>
              <a:spcAft>
                <a:spcPts val="1650"/>
              </a:spcAft>
              <a:defRPr sz="3449">
                <a:solidFill>
                  <a:schemeClr val="tx2"/>
                </a:solidFill>
                <a:latin typeface="Amalia Medium" pitchFamily="34" charset="0"/>
              </a:defRPr>
            </a:lvl1pPr>
            <a:lvl2pPr marL="0" indent="0">
              <a:lnSpc>
                <a:spcPct val="110000"/>
              </a:lnSpc>
              <a:buFontTx/>
              <a:buNone/>
              <a:defRPr sz="1350">
                <a:solidFill>
                  <a:schemeClr val="tx2"/>
                </a:solidFill>
              </a:defRPr>
            </a:lvl2pPr>
            <a:lvl3pPr marL="0" indent="0">
              <a:buNone/>
              <a:defRPr sz="1050">
                <a:solidFill>
                  <a:schemeClr val="tx2"/>
                </a:solidFill>
              </a:defRPr>
            </a:lvl3pPr>
            <a:lvl4pPr marL="134964">
              <a:spcBef>
                <a:spcPts val="525"/>
              </a:spcBef>
              <a:buFontTx/>
              <a:buBlip>
                <a:blip r:embed="rId2"/>
              </a:buBlip>
              <a:defRPr sz="105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109">
            <a:extLst>
              <a:ext uri="{FF2B5EF4-FFF2-40B4-BE49-F238E27FC236}">
                <a16:creationId xmlns:a16="http://schemas.microsoft.com/office/drawing/2014/main" id="{C55294A0-6B1C-06D1-B7B5-FEEA0015312E}"/>
              </a:ext>
            </a:extLst>
          </p:cNvPr>
          <p:cNvSpPr txBox="1">
            <a:spLocks/>
          </p:cNvSpPr>
          <p:nvPr userDrawn="1"/>
        </p:nvSpPr>
        <p:spPr>
          <a:xfrm>
            <a:off x="8567403" y="4839477"/>
            <a:ext cx="195267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400">
                <a:solidFill>
                  <a:srgbClr val="FF0000"/>
                </a:solidFill>
                <a:latin typeface="+mn-lt"/>
              </a:defRPr>
            </a:lvl1pPr>
          </a:lstStyle>
          <a:p>
            <a:pPr marL="0" marR="0" lvl="0" indent="0" algn="r" defTabSz="6856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B8A8675-40C0-40D2-8FCE-EA4A25F48F18}" type="slidenum">
              <a:rPr kumimoji="0" lang="en-GB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61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CF2872D-5B35-762E-FE55-79B40C1C71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986" y="1005938"/>
            <a:ext cx="3920062" cy="230833"/>
          </a:xfrm>
        </p:spPr>
        <p:txBody>
          <a:bodyPr/>
          <a:lstStyle/>
          <a:p>
            <a:endParaRPr lang="en-GB"/>
          </a:p>
        </p:txBody>
      </p:sp>
      <p:pic>
        <p:nvPicPr>
          <p:cNvPr id="2" name="Picture 1" descr="Logo&#10;&#10;Description automatically generated with medium confidence">
            <a:extLst>
              <a:ext uri="{FF2B5EF4-FFF2-40B4-BE49-F238E27FC236}">
                <a16:creationId xmlns:a16="http://schemas.microsoft.com/office/drawing/2014/main" id="{434AF847-17B2-4603-D6FD-E25C8B1ECC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0" y="88049"/>
            <a:ext cx="1241815" cy="459805"/>
          </a:xfrm>
          <a:prstGeom prst="rect">
            <a:avLst/>
          </a:prstGeo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F711DE4-D0DC-1F36-ED50-6D46E5A8189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559666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3 and 2/3">
    <p:bg>
      <p:bgPr>
        <a:solidFill>
          <a:srgbClr val="F8F6F2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/>
          <p:cNvSpPr/>
          <p:nvPr userDrawn="1"/>
        </p:nvSpPr>
        <p:spPr>
          <a:xfrm>
            <a:off x="0" y="0"/>
            <a:ext cx="3053158" cy="5144805"/>
          </a:xfrm>
          <a:custGeom>
            <a:avLst/>
            <a:gdLst>
              <a:gd name="connsiteX0" fmla="*/ 0 w 1134016"/>
              <a:gd name="connsiteY0" fmla="*/ 1408203 h 1410865"/>
              <a:gd name="connsiteX1" fmla="*/ 716080 w 1134016"/>
              <a:gd name="connsiteY1" fmla="*/ 1410865 h 1410865"/>
              <a:gd name="connsiteX2" fmla="*/ 1027535 w 1134016"/>
              <a:gd name="connsiteY2" fmla="*/ 1096747 h 1410865"/>
              <a:gd name="connsiteX3" fmla="*/ 1134016 w 1134016"/>
              <a:gd name="connsiteY3" fmla="*/ 894435 h 1410865"/>
              <a:gd name="connsiteX4" fmla="*/ 1128692 w 1134016"/>
              <a:gd name="connsiteY4" fmla="*/ 0 h 1410865"/>
              <a:gd name="connsiteX5" fmla="*/ 39930 w 1134016"/>
              <a:gd name="connsiteY5" fmla="*/ 0 h 1410865"/>
              <a:gd name="connsiteX6" fmla="*/ 0 w 1134016"/>
              <a:gd name="connsiteY6" fmla="*/ 1408203 h 1410865"/>
              <a:gd name="connsiteX0" fmla="*/ 0 w 5993513"/>
              <a:gd name="connsiteY0" fmla="*/ 1409125 h 1410865"/>
              <a:gd name="connsiteX1" fmla="*/ 5575577 w 5993513"/>
              <a:gd name="connsiteY1" fmla="*/ 1410865 h 1410865"/>
              <a:gd name="connsiteX2" fmla="*/ 5887032 w 5993513"/>
              <a:gd name="connsiteY2" fmla="*/ 1096747 h 1410865"/>
              <a:gd name="connsiteX3" fmla="*/ 5993513 w 5993513"/>
              <a:gd name="connsiteY3" fmla="*/ 894435 h 1410865"/>
              <a:gd name="connsiteX4" fmla="*/ 5988189 w 5993513"/>
              <a:gd name="connsiteY4" fmla="*/ 0 h 1410865"/>
              <a:gd name="connsiteX5" fmla="*/ 4899427 w 5993513"/>
              <a:gd name="connsiteY5" fmla="*/ 0 h 1410865"/>
              <a:gd name="connsiteX6" fmla="*/ 0 w 5993513"/>
              <a:gd name="connsiteY6" fmla="*/ 1409125 h 1410865"/>
              <a:gd name="connsiteX0" fmla="*/ 0 w 5993513"/>
              <a:gd name="connsiteY0" fmla="*/ 6859588 h 6861328"/>
              <a:gd name="connsiteX1" fmla="*/ 5575577 w 5993513"/>
              <a:gd name="connsiteY1" fmla="*/ 6861328 h 6861328"/>
              <a:gd name="connsiteX2" fmla="*/ 5887032 w 5993513"/>
              <a:gd name="connsiteY2" fmla="*/ 6547210 h 6861328"/>
              <a:gd name="connsiteX3" fmla="*/ 5993513 w 5993513"/>
              <a:gd name="connsiteY3" fmla="*/ 6344898 h 6861328"/>
              <a:gd name="connsiteX4" fmla="*/ 5988189 w 5993513"/>
              <a:gd name="connsiteY4" fmla="*/ 5450463 h 6861328"/>
              <a:gd name="connsiteX5" fmla="*/ 1 w 5993513"/>
              <a:gd name="connsiteY5" fmla="*/ 0 h 6861328"/>
              <a:gd name="connsiteX6" fmla="*/ 0 w 5993513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233540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925826 w 5997764"/>
              <a:gd name="connsiteY5" fmla="*/ 0 h 6861328"/>
              <a:gd name="connsiteX6" fmla="*/ 0 w 5997764"/>
              <a:gd name="connsiteY6" fmla="*/ 6859588 h 6861328"/>
              <a:gd name="connsiteX0" fmla="*/ 0 w 4071938"/>
              <a:gd name="connsiteY0" fmla="*/ 6859588 h 6861328"/>
              <a:gd name="connsiteX1" fmla="*/ 3649751 w 4071938"/>
              <a:gd name="connsiteY1" fmla="*/ 6861328 h 6861328"/>
              <a:gd name="connsiteX2" fmla="*/ 3961206 w 4071938"/>
              <a:gd name="connsiteY2" fmla="*/ 6547210 h 6861328"/>
              <a:gd name="connsiteX3" fmla="*/ 4067687 w 4071938"/>
              <a:gd name="connsiteY3" fmla="*/ 6344898 h 6861328"/>
              <a:gd name="connsiteX4" fmla="*/ 4070163 w 4071938"/>
              <a:gd name="connsiteY4" fmla="*/ 0 h 6861328"/>
              <a:gd name="connsiteX5" fmla="*/ 0 w 4071938"/>
              <a:gd name="connsiteY5" fmla="*/ 0 h 6861328"/>
              <a:gd name="connsiteX6" fmla="*/ 0 w 4071938"/>
              <a:gd name="connsiteY6" fmla="*/ 6859588 h 686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71938" h="6861328">
                <a:moveTo>
                  <a:pt x="0" y="6859588"/>
                </a:moveTo>
                <a:lnTo>
                  <a:pt x="3649751" y="6861328"/>
                </a:lnTo>
                <a:lnTo>
                  <a:pt x="3961206" y="6547210"/>
                </a:lnTo>
                <a:cubicBezTo>
                  <a:pt x="4028146" y="6480608"/>
                  <a:pt x="4067626" y="6394128"/>
                  <a:pt x="4067687" y="6344898"/>
                </a:cubicBezTo>
                <a:cubicBezTo>
                  <a:pt x="4065912" y="6046753"/>
                  <a:pt x="4071938" y="298145"/>
                  <a:pt x="4070163" y="0"/>
                </a:cubicBezTo>
                <a:lnTo>
                  <a:pt x="0" y="0"/>
                </a:lnTo>
                <a:lnTo>
                  <a:pt x="0" y="6859588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GB" sz="135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324550" y="1869835"/>
            <a:ext cx="5498065" cy="2598737"/>
          </a:xfrm>
        </p:spPr>
        <p:txBody>
          <a:bodyPr numCol="2" spcCol="144000"/>
          <a:lstStyle>
            <a:lvl1pPr marL="304719" indent="-304719">
              <a:spcBef>
                <a:spcPts val="1575"/>
              </a:spcBef>
              <a:spcAft>
                <a:spcPts val="0"/>
              </a:spcAft>
              <a:buFont typeface="+mj-lt"/>
              <a:buAutoNum type="arabicPeriod"/>
              <a:defRPr sz="1350">
                <a:solidFill>
                  <a:schemeClr val="tx2"/>
                </a:solidFill>
              </a:defRPr>
            </a:lvl1pPr>
            <a:lvl2pPr marL="434463" indent="-134505">
              <a:spcBef>
                <a:spcPts val="300"/>
              </a:spcBef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Slide Number Placeholder 109">
            <a:extLst>
              <a:ext uri="{FF2B5EF4-FFF2-40B4-BE49-F238E27FC236}">
                <a16:creationId xmlns:a16="http://schemas.microsoft.com/office/drawing/2014/main" id="{162F2703-C290-8CD5-AEF8-49FD6D2BFFA8}"/>
              </a:ext>
            </a:extLst>
          </p:cNvPr>
          <p:cNvSpPr txBox="1">
            <a:spLocks/>
          </p:cNvSpPr>
          <p:nvPr userDrawn="1"/>
        </p:nvSpPr>
        <p:spPr>
          <a:xfrm>
            <a:off x="8567403" y="4839477"/>
            <a:ext cx="195267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400">
                <a:solidFill>
                  <a:srgbClr val="FF0000"/>
                </a:solidFill>
                <a:latin typeface="+mn-lt"/>
              </a:defRPr>
            </a:lvl1pPr>
          </a:lstStyle>
          <a:p>
            <a:pPr marL="0" marR="0" lvl="0" indent="0" algn="r" defTabSz="6856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B8A8675-40C0-40D2-8FCE-EA4A25F48F18}" type="slidenum">
              <a:rPr kumimoji="0" lang="en-GB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61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4" name="Picture 3" descr="BlackLogo.png">
            <a:extLst>
              <a:ext uri="{FF2B5EF4-FFF2-40B4-BE49-F238E27FC236}">
                <a16:creationId xmlns:a16="http://schemas.microsoft.com/office/drawing/2014/main" id="{60C7FFFC-EAC3-F576-6E9A-0581241078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52645" y="196036"/>
            <a:ext cx="994827" cy="250478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A0A21FB-3311-55CF-3E60-211AA622E72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Presentation titl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5D20FAD-214C-40F6-EF6D-822B66D6B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888" y="1220269"/>
            <a:ext cx="2496365" cy="235632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162260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ext with banner_RH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09">
            <a:extLst>
              <a:ext uri="{FF2B5EF4-FFF2-40B4-BE49-F238E27FC236}">
                <a16:creationId xmlns:a16="http://schemas.microsoft.com/office/drawing/2014/main" id="{494782E4-17B8-06A6-9E3E-12CBE12D302B}"/>
              </a:ext>
            </a:extLst>
          </p:cNvPr>
          <p:cNvSpPr txBox="1">
            <a:spLocks/>
          </p:cNvSpPr>
          <p:nvPr userDrawn="1"/>
        </p:nvSpPr>
        <p:spPr>
          <a:xfrm>
            <a:off x="8567403" y="4839477"/>
            <a:ext cx="195267" cy="11541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400">
                <a:solidFill>
                  <a:srgbClr val="FF0000"/>
                </a:solidFill>
                <a:latin typeface="+mn-lt"/>
              </a:defRPr>
            </a:lvl1pPr>
          </a:lstStyle>
          <a:p>
            <a:pPr marL="0" marR="0" lvl="0" indent="0" algn="r" defTabSz="685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B8A8675-40C0-40D2-8FCE-EA4A25F48F18}" type="slidenum">
              <a:rPr kumimoji="0" lang="en-GB" sz="75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32A395ED-0449-05FA-83A9-A0D83E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585" y="202535"/>
            <a:ext cx="8484566" cy="230833"/>
          </a:xfrm>
        </p:spPr>
        <p:txBody>
          <a:bodyPr/>
          <a:lstStyle/>
          <a:p>
            <a:endParaRPr lang="en-GB"/>
          </a:p>
        </p:txBody>
      </p:sp>
      <p:pic>
        <p:nvPicPr>
          <p:cNvPr id="2" name="Picture 1" descr="Logo  Description automatically generated with medium confidence">
            <a:extLst>
              <a:ext uri="{FF2B5EF4-FFF2-40B4-BE49-F238E27FC236}">
                <a16:creationId xmlns:a16="http://schemas.microsoft.com/office/drawing/2014/main" id="{4A86E9AE-4F13-A834-D062-E9B29C06CE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2166" y="88050"/>
            <a:ext cx="1241815" cy="459805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C2F6293-93D6-1294-6900-99CC7F7A1F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2038230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3210982" y="2263758"/>
            <a:ext cx="3412712" cy="664644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defRPr sz="2399" b="1" spc="-22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09231" y="3267905"/>
            <a:ext cx="3413653" cy="187039"/>
          </a:xfrm>
        </p:spPr>
        <p:txBody>
          <a:bodyPr wrap="square">
            <a:spAutoFit/>
          </a:bodyPr>
          <a:lstStyle>
            <a:lvl1pPr marL="0" marR="0" indent="0" algn="l" defTabSz="816364" rtl="0" eaLnBrk="1" fontAlgn="base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59087" y="4648103"/>
            <a:ext cx="3908707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rtl="0" fontAlgn="base">
              <a:lnSpc>
                <a:spcPct val="100000"/>
              </a:lnSpc>
              <a:spcBef>
                <a:spcPts val="0"/>
              </a:spcBef>
              <a:spcAft>
                <a:spcPts val="37"/>
              </a:spcAft>
            </a:pPr>
            <a:r>
              <a:rPr lang="en-US" sz="600" b="0">
                <a:solidFill>
                  <a:schemeClr val="tx2"/>
                </a:solidFill>
                <a:latin typeface="Amalia Medium" pitchFamily="34" charset="0"/>
                <a:ea typeface="+mn-ea"/>
                <a:cs typeface="+mn-cs"/>
              </a:rPr>
              <a:t>Confidential and proprietary</a:t>
            </a:r>
          </a:p>
          <a:p>
            <a:pPr lvl="0" algn="l" rtl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600" b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ny use of this material without specific permission of Raiffeisen Bank is strictly prohibited,</a:t>
            </a:r>
            <a:endParaRPr lang="en-GB" sz="600" b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reeform 7"/>
          <p:cNvSpPr/>
          <p:nvPr userDrawn="1"/>
        </p:nvSpPr>
        <p:spPr>
          <a:xfrm>
            <a:off x="626614" y="1027803"/>
            <a:ext cx="2160247" cy="3086608"/>
          </a:xfrm>
          <a:custGeom>
            <a:avLst/>
            <a:gdLst>
              <a:gd name="connsiteX0" fmla="*/ 0 w 3498574"/>
              <a:gd name="connsiteY0" fmla="*/ 533873 h 5009322"/>
              <a:gd name="connsiteX1" fmla="*/ 1965108 w 3498574"/>
              <a:gd name="connsiteY1" fmla="*/ 2498981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53550 w 3498574"/>
              <a:gd name="connsiteY1" fmla="*/ 2482688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41992 w 3498574"/>
              <a:gd name="connsiteY1" fmla="*/ 2497200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465050 w 3509263"/>
              <a:gd name="connsiteY9" fmla="*/ 102231 h 5009322"/>
              <a:gd name="connsiteX10" fmla="*/ 0 w 3509263"/>
              <a:gd name="connsiteY10" fmla="*/ 538314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397553 w 3509263"/>
              <a:gd name="connsiteY9" fmla="*/ 157556 h 5009322"/>
              <a:gd name="connsiteX10" fmla="*/ 0 w 3509263"/>
              <a:gd name="connsiteY10" fmla="*/ 538314 h 5009322"/>
              <a:gd name="connsiteX0" fmla="*/ 0 w 3509263"/>
              <a:gd name="connsiteY0" fmla="*/ 865832 h 5336840"/>
              <a:gd name="connsiteX1" fmla="*/ 1952681 w 3509263"/>
              <a:gd name="connsiteY1" fmla="*/ 2824718 h 5336840"/>
              <a:gd name="connsiteX2" fmla="*/ 10689 w 3509263"/>
              <a:gd name="connsiteY2" fmla="*/ 4791607 h 5336840"/>
              <a:gd name="connsiteX3" fmla="*/ 430973 w 3509263"/>
              <a:gd name="connsiteY3" fmla="*/ 5234609 h 5336840"/>
              <a:gd name="connsiteX4" fmla="*/ 771743 w 3509263"/>
              <a:gd name="connsiteY4" fmla="*/ 5336840 h 5336840"/>
              <a:gd name="connsiteX5" fmla="*/ 1135231 w 3509263"/>
              <a:gd name="connsiteY5" fmla="*/ 5211891 h 5336840"/>
              <a:gd name="connsiteX6" fmla="*/ 3509263 w 3509263"/>
              <a:gd name="connsiteY6" fmla="*/ 2837858 h 5336840"/>
              <a:gd name="connsiteX7" fmla="*/ 1078436 w 3509263"/>
              <a:gd name="connsiteY7" fmla="*/ 418390 h 5336840"/>
              <a:gd name="connsiteX8" fmla="*/ 737666 w 3509263"/>
              <a:gd name="connsiteY8" fmla="*/ 327518 h 5336840"/>
              <a:gd name="connsiteX9" fmla="*/ 397553 w 3509263"/>
              <a:gd name="connsiteY9" fmla="*/ 485074 h 5336840"/>
              <a:gd name="connsiteX10" fmla="*/ 0 w 3509263"/>
              <a:gd name="connsiteY10" fmla="*/ 865832 h 5336840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2840 h 5013848"/>
              <a:gd name="connsiteX1" fmla="*/ 1952681 w 3509263"/>
              <a:gd name="connsiteY1" fmla="*/ 2501726 h 5013848"/>
              <a:gd name="connsiteX2" fmla="*/ 10689 w 3509263"/>
              <a:gd name="connsiteY2" fmla="*/ 4468615 h 5013848"/>
              <a:gd name="connsiteX3" fmla="*/ 430973 w 3509263"/>
              <a:gd name="connsiteY3" fmla="*/ 4911617 h 5013848"/>
              <a:gd name="connsiteX4" fmla="*/ 771743 w 3509263"/>
              <a:gd name="connsiteY4" fmla="*/ 5013848 h 5013848"/>
              <a:gd name="connsiteX5" fmla="*/ 1135231 w 3509263"/>
              <a:gd name="connsiteY5" fmla="*/ 4888899 h 5013848"/>
              <a:gd name="connsiteX6" fmla="*/ 3509263 w 3509263"/>
              <a:gd name="connsiteY6" fmla="*/ 2514866 h 5013848"/>
              <a:gd name="connsiteX7" fmla="*/ 1117296 w 3509263"/>
              <a:gd name="connsiteY7" fmla="*/ 134923 h 5013848"/>
              <a:gd name="connsiteX8" fmla="*/ 737666 w 3509263"/>
              <a:gd name="connsiteY8" fmla="*/ 4526 h 5013848"/>
              <a:gd name="connsiteX9" fmla="*/ 397553 w 3509263"/>
              <a:gd name="connsiteY9" fmla="*/ 162082 h 5013848"/>
              <a:gd name="connsiteX10" fmla="*/ 0 w 3509263"/>
              <a:gd name="connsiteY10" fmla="*/ 542840 h 5013848"/>
              <a:gd name="connsiteX0" fmla="*/ 0 w 3509263"/>
              <a:gd name="connsiteY0" fmla="*/ 526104 h 4997112"/>
              <a:gd name="connsiteX1" fmla="*/ 1952681 w 3509263"/>
              <a:gd name="connsiteY1" fmla="*/ 2484990 h 4997112"/>
              <a:gd name="connsiteX2" fmla="*/ 10689 w 3509263"/>
              <a:gd name="connsiteY2" fmla="*/ 4451879 h 4997112"/>
              <a:gd name="connsiteX3" fmla="*/ 430973 w 3509263"/>
              <a:gd name="connsiteY3" fmla="*/ 4894881 h 4997112"/>
              <a:gd name="connsiteX4" fmla="*/ 771743 w 3509263"/>
              <a:gd name="connsiteY4" fmla="*/ 4997112 h 4997112"/>
              <a:gd name="connsiteX5" fmla="*/ 1135231 w 3509263"/>
              <a:gd name="connsiteY5" fmla="*/ 4872163 h 4997112"/>
              <a:gd name="connsiteX6" fmla="*/ 3509263 w 3509263"/>
              <a:gd name="connsiteY6" fmla="*/ 2498130 h 4997112"/>
              <a:gd name="connsiteX7" fmla="*/ 1117296 w 3509263"/>
              <a:gd name="connsiteY7" fmla="*/ 118187 h 4997112"/>
              <a:gd name="connsiteX8" fmla="*/ 753426 w 3509263"/>
              <a:gd name="connsiteY8" fmla="*/ 4526 h 4997112"/>
              <a:gd name="connsiteX9" fmla="*/ 397553 w 3509263"/>
              <a:gd name="connsiteY9" fmla="*/ 145346 h 4997112"/>
              <a:gd name="connsiteX10" fmla="*/ 0 w 3509263"/>
              <a:gd name="connsiteY10" fmla="*/ 526104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64742 w 3500203"/>
              <a:gd name="connsiteY1" fmla="*/ 25023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5110 w 3505313"/>
              <a:gd name="connsiteY0" fmla="*/ 531610 h 4997112"/>
              <a:gd name="connsiteX1" fmla="*/ 1969852 w 3505313"/>
              <a:gd name="connsiteY1" fmla="*/ 2502390 h 4997112"/>
              <a:gd name="connsiteX2" fmla="*/ 0 w 3505313"/>
              <a:gd name="connsiteY2" fmla="*/ 4481321 h 4997112"/>
              <a:gd name="connsiteX3" fmla="*/ 427023 w 3505313"/>
              <a:gd name="connsiteY3" fmla="*/ 4894881 h 4997112"/>
              <a:gd name="connsiteX4" fmla="*/ 767793 w 3505313"/>
              <a:gd name="connsiteY4" fmla="*/ 4997112 h 4997112"/>
              <a:gd name="connsiteX5" fmla="*/ 1131281 w 3505313"/>
              <a:gd name="connsiteY5" fmla="*/ 4872163 h 4997112"/>
              <a:gd name="connsiteX6" fmla="*/ 3505313 w 3505313"/>
              <a:gd name="connsiteY6" fmla="*/ 2498130 h 4997112"/>
              <a:gd name="connsiteX7" fmla="*/ 1113346 w 3505313"/>
              <a:gd name="connsiteY7" fmla="*/ 118187 h 4997112"/>
              <a:gd name="connsiteX8" fmla="*/ 749476 w 3505313"/>
              <a:gd name="connsiteY8" fmla="*/ 4526 h 4997112"/>
              <a:gd name="connsiteX9" fmla="*/ 393603 w 3505313"/>
              <a:gd name="connsiteY9" fmla="*/ 145346 h 4997112"/>
              <a:gd name="connsiteX10" fmla="*/ 5110 w 3505313"/>
              <a:gd name="connsiteY10" fmla="*/ 531610 h 4997112"/>
              <a:gd name="connsiteX0" fmla="*/ 5110 w 3505313"/>
              <a:gd name="connsiteY0" fmla="*/ 531610 h 5288660"/>
              <a:gd name="connsiteX1" fmla="*/ 1969852 w 3505313"/>
              <a:gd name="connsiteY1" fmla="*/ 2502390 h 5288660"/>
              <a:gd name="connsiteX2" fmla="*/ 0 w 3505313"/>
              <a:gd name="connsiteY2" fmla="*/ 4481321 h 5288660"/>
              <a:gd name="connsiteX3" fmla="*/ 427023 w 3505313"/>
              <a:gd name="connsiteY3" fmla="*/ 4894881 h 5288660"/>
              <a:gd name="connsiteX4" fmla="*/ 767793 w 3505313"/>
              <a:gd name="connsiteY4" fmla="*/ 4997112 h 5288660"/>
              <a:gd name="connsiteX5" fmla="*/ 1131281 w 3505313"/>
              <a:gd name="connsiteY5" fmla="*/ 4872163 h 5288660"/>
              <a:gd name="connsiteX6" fmla="*/ 3505313 w 3505313"/>
              <a:gd name="connsiteY6" fmla="*/ 2498130 h 5288660"/>
              <a:gd name="connsiteX7" fmla="*/ 1113346 w 3505313"/>
              <a:gd name="connsiteY7" fmla="*/ 118187 h 5288660"/>
              <a:gd name="connsiteX8" fmla="*/ 749476 w 3505313"/>
              <a:gd name="connsiteY8" fmla="*/ 4526 h 5288660"/>
              <a:gd name="connsiteX9" fmla="*/ 393603 w 3505313"/>
              <a:gd name="connsiteY9" fmla="*/ 145346 h 5288660"/>
              <a:gd name="connsiteX10" fmla="*/ 5110 w 3505313"/>
              <a:gd name="connsiteY10" fmla="*/ 531610 h 5288660"/>
              <a:gd name="connsiteX0" fmla="*/ 5110 w 3505313"/>
              <a:gd name="connsiteY0" fmla="*/ 531610 h 5000898"/>
              <a:gd name="connsiteX1" fmla="*/ 1969852 w 3505313"/>
              <a:gd name="connsiteY1" fmla="*/ 2502390 h 5000898"/>
              <a:gd name="connsiteX2" fmla="*/ 0 w 3505313"/>
              <a:gd name="connsiteY2" fmla="*/ 4481321 h 5000898"/>
              <a:gd name="connsiteX3" fmla="*/ 427023 w 3505313"/>
              <a:gd name="connsiteY3" fmla="*/ 4894881 h 5000898"/>
              <a:gd name="connsiteX4" fmla="*/ 767793 w 3505313"/>
              <a:gd name="connsiteY4" fmla="*/ 4997112 h 5000898"/>
              <a:gd name="connsiteX5" fmla="*/ 1131281 w 3505313"/>
              <a:gd name="connsiteY5" fmla="*/ 4872163 h 5000898"/>
              <a:gd name="connsiteX6" fmla="*/ 3505313 w 3505313"/>
              <a:gd name="connsiteY6" fmla="*/ 2498130 h 5000898"/>
              <a:gd name="connsiteX7" fmla="*/ 1113346 w 3505313"/>
              <a:gd name="connsiteY7" fmla="*/ 118187 h 5000898"/>
              <a:gd name="connsiteX8" fmla="*/ 749476 w 3505313"/>
              <a:gd name="connsiteY8" fmla="*/ 4526 h 5000898"/>
              <a:gd name="connsiteX9" fmla="*/ 393603 w 3505313"/>
              <a:gd name="connsiteY9" fmla="*/ 145346 h 5000898"/>
              <a:gd name="connsiteX10" fmla="*/ 5110 w 3505313"/>
              <a:gd name="connsiteY10" fmla="*/ 531610 h 5000898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29652 h 5005303"/>
              <a:gd name="connsiteX1" fmla="*/ 1969852 w 3505313"/>
              <a:gd name="connsiteY1" fmla="*/ 2500432 h 5005303"/>
              <a:gd name="connsiteX2" fmla="*/ 0 w 3505313"/>
              <a:gd name="connsiteY2" fmla="*/ 4479363 h 5005303"/>
              <a:gd name="connsiteX3" fmla="*/ 427023 w 3505313"/>
              <a:gd name="connsiteY3" fmla="*/ 4892923 h 5005303"/>
              <a:gd name="connsiteX4" fmla="*/ 787503 w 3505313"/>
              <a:gd name="connsiteY4" fmla="*/ 5001517 h 5005303"/>
              <a:gd name="connsiteX5" fmla="*/ 1131281 w 3505313"/>
              <a:gd name="connsiteY5" fmla="*/ 4870205 h 5005303"/>
              <a:gd name="connsiteX6" fmla="*/ 3505313 w 3505313"/>
              <a:gd name="connsiteY6" fmla="*/ 2496172 h 5005303"/>
              <a:gd name="connsiteX7" fmla="*/ 1160106 w 3505313"/>
              <a:gd name="connsiteY7" fmla="*/ 158794 h 5005303"/>
              <a:gd name="connsiteX8" fmla="*/ 749476 w 3505313"/>
              <a:gd name="connsiteY8" fmla="*/ 2568 h 5005303"/>
              <a:gd name="connsiteX9" fmla="*/ 393603 w 3505313"/>
              <a:gd name="connsiteY9" fmla="*/ 143388 h 5005303"/>
              <a:gd name="connsiteX10" fmla="*/ 5110 w 3505313"/>
              <a:gd name="connsiteY10" fmla="*/ 529652 h 5005303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416 h 5008067"/>
              <a:gd name="connsiteX1" fmla="*/ 1969852 w 3505313"/>
              <a:gd name="connsiteY1" fmla="*/ 2503196 h 5008067"/>
              <a:gd name="connsiteX2" fmla="*/ 0 w 3505313"/>
              <a:gd name="connsiteY2" fmla="*/ 4482127 h 5008067"/>
              <a:gd name="connsiteX3" fmla="*/ 427023 w 3505313"/>
              <a:gd name="connsiteY3" fmla="*/ 4895687 h 5008067"/>
              <a:gd name="connsiteX4" fmla="*/ 787503 w 3505313"/>
              <a:gd name="connsiteY4" fmla="*/ 5004281 h 5008067"/>
              <a:gd name="connsiteX5" fmla="*/ 1131281 w 3505313"/>
              <a:gd name="connsiteY5" fmla="*/ 4872969 h 5008067"/>
              <a:gd name="connsiteX6" fmla="*/ 3505313 w 3505313"/>
              <a:gd name="connsiteY6" fmla="*/ 2498936 h 5008067"/>
              <a:gd name="connsiteX7" fmla="*/ 1160106 w 3505313"/>
              <a:gd name="connsiteY7" fmla="*/ 161558 h 5008067"/>
              <a:gd name="connsiteX8" fmla="*/ 796836 w 3505313"/>
              <a:gd name="connsiteY8" fmla="*/ 2318 h 5008067"/>
              <a:gd name="connsiteX9" fmla="*/ 393603 w 3505313"/>
              <a:gd name="connsiteY9" fmla="*/ 146152 h 5008067"/>
              <a:gd name="connsiteX10" fmla="*/ 5110 w 3505313"/>
              <a:gd name="connsiteY10" fmla="*/ 532416 h 500806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05313" h="5008317">
                <a:moveTo>
                  <a:pt x="5110" y="532666"/>
                </a:moveTo>
                <a:lnTo>
                  <a:pt x="1969852" y="2503446"/>
                </a:lnTo>
                <a:lnTo>
                  <a:pt x="0" y="4482377"/>
                </a:lnTo>
                <a:lnTo>
                  <a:pt x="427023" y="4895937"/>
                </a:lnTo>
                <a:cubicBezTo>
                  <a:pt x="510281" y="4969426"/>
                  <a:pt x="670127" y="5008317"/>
                  <a:pt x="787503" y="5004531"/>
                </a:cubicBezTo>
                <a:cubicBezTo>
                  <a:pt x="904879" y="5000745"/>
                  <a:pt x="1004011" y="4978861"/>
                  <a:pt x="1131281" y="4873219"/>
                </a:cubicBezTo>
                <a:lnTo>
                  <a:pt x="3505313" y="2499186"/>
                </a:lnTo>
                <a:lnTo>
                  <a:pt x="1160106" y="161808"/>
                </a:lnTo>
                <a:cubicBezTo>
                  <a:pt x="1068649" y="89635"/>
                  <a:pt x="968345" y="5136"/>
                  <a:pt x="796836" y="2568"/>
                </a:cubicBezTo>
                <a:cubicBezTo>
                  <a:pt x="625327" y="0"/>
                  <a:pt x="475789" y="68559"/>
                  <a:pt x="393603" y="146402"/>
                </a:cubicBezTo>
                <a:lnTo>
                  <a:pt x="5110" y="532666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GB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Freeform 9"/>
          <p:cNvSpPr/>
          <p:nvPr userDrawn="1"/>
        </p:nvSpPr>
        <p:spPr>
          <a:xfrm flipH="1">
            <a:off x="6870206" y="778277"/>
            <a:ext cx="1220362" cy="1743675"/>
          </a:xfrm>
          <a:custGeom>
            <a:avLst/>
            <a:gdLst>
              <a:gd name="connsiteX0" fmla="*/ 0 w 3498574"/>
              <a:gd name="connsiteY0" fmla="*/ 533873 h 5009322"/>
              <a:gd name="connsiteX1" fmla="*/ 1965108 w 3498574"/>
              <a:gd name="connsiteY1" fmla="*/ 2498981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53550 w 3498574"/>
              <a:gd name="connsiteY1" fmla="*/ 2482688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41992 w 3498574"/>
              <a:gd name="connsiteY1" fmla="*/ 2497200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465050 w 3509263"/>
              <a:gd name="connsiteY9" fmla="*/ 102231 h 5009322"/>
              <a:gd name="connsiteX10" fmla="*/ 0 w 3509263"/>
              <a:gd name="connsiteY10" fmla="*/ 538314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397553 w 3509263"/>
              <a:gd name="connsiteY9" fmla="*/ 157556 h 5009322"/>
              <a:gd name="connsiteX10" fmla="*/ 0 w 3509263"/>
              <a:gd name="connsiteY10" fmla="*/ 538314 h 5009322"/>
              <a:gd name="connsiteX0" fmla="*/ 0 w 3509263"/>
              <a:gd name="connsiteY0" fmla="*/ 865832 h 5336840"/>
              <a:gd name="connsiteX1" fmla="*/ 1952681 w 3509263"/>
              <a:gd name="connsiteY1" fmla="*/ 2824718 h 5336840"/>
              <a:gd name="connsiteX2" fmla="*/ 10689 w 3509263"/>
              <a:gd name="connsiteY2" fmla="*/ 4791607 h 5336840"/>
              <a:gd name="connsiteX3" fmla="*/ 430973 w 3509263"/>
              <a:gd name="connsiteY3" fmla="*/ 5234609 h 5336840"/>
              <a:gd name="connsiteX4" fmla="*/ 771743 w 3509263"/>
              <a:gd name="connsiteY4" fmla="*/ 5336840 h 5336840"/>
              <a:gd name="connsiteX5" fmla="*/ 1135231 w 3509263"/>
              <a:gd name="connsiteY5" fmla="*/ 5211891 h 5336840"/>
              <a:gd name="connsiteX6" fmla="*/ 3509263 w 3509263"/>
              <a:gd name="connsiteY6" fmla="*/ 2837858 h 5336840"/>
              <a:gd name="connsiteX7" fmla="*/ 1078436 w 3509263"/>
              <a:gd name="connsiteY7" fmla="*/ 418390 h 5336840"/>
              <a:gd name="connsiteX8" fmla="*/ 737666 w 3509263"/>
              <a:gd name="connsiteY8" fmla="*/ 327518 h 5336840"/>
              <a:gd name="connsiteX9" fmla="*/ 397553 w 3509263"/>
              <a:gd name="connsiteY9" fmla="*/ 485074 h 5336840"/>
              <a:gd name="connsiteX10" fmla="*/ 0 w 3509263"/>
              <a:gd name="connsiteY10" fmla="*/ 865832 h 5336840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2840 h 5013848"/>
              <a:gd name="connsiteX1" fmla="*/ 1952681 w 3509263"/>
              <a:gd name="connsiteY1" fmla="*/ 2501726 h 5013848"/>
              <a:gd name="connsiteX2" fmla="*/ 10689 w 3509263"/>
              <a:gd name="connsiteY2" fmla="*/ 4468615 h 5013848"/>
              <a:gd name="connsiteX3" fmla="*/ 430973 w 3509263"/>
              <a:gd name="connsiteY3" fmla="*/ 4911617 h 5013848"/>
              <a:gd name="connsiteX4" fmla="*/ 771743 w 3509263"/>
              <a:gd name="connsiteY4" fmla="*/ 5013848 h 5013848"/>
              <a:gd name="connsiteX5" fmla="*/ 1135231 w 3509263"/>
              <a:gd name="connsiteY5" fmla="*/ 4888899 h 5013848"/>
              <a:gd name="connsiteX6" fmla="*/ 3509263 w 3509263"/>
              <a:gd name="connsiteY6" fmla="*/ 2514866 h 5013848"/>
              <a:gd name="connsiteX7" fmla="*/ 1117296 w 3509263"/>
              <a:gd name="connsiteY7" fmla="*/ 134923 h 5013848"/>
              <a:gd name="connsiteX8" fmla="*/ 737666 w 3509263"/>
              <a:gd name="connsiteY8" fmla="*/ 4526 h 5013848"/>
              <a:gd name="connsiteX9" fmla="*/ 397553 w 3509263"/>
              <a:gd name="connsiteY9" fmla="*/ 162082 h 5013848"/>
              <a:gd name="connsiteX10" fmla="*/ 0 w 3509263"/>
              <a:gd name="connsiteY10" fmla="*/ 542840 h 5013848"/>
              <a:gd name="connsiteX0" fmla="*/ 0 w 3509263"/>
              <a:gd name="connsiteY0" fmla="*/ 526104 h 4997112"/>
              <a:gd name="connsiteX1" fmla="*/ 1952681 w 3509263"/>
              <a:gd name="connsiteY1" fmla="*/ 2484990 h 4997112"/>
              <a:gd name="connsiteX2" fmla="*/ 10689 w 3509263"/>
              <a:gd name="connsiteY2" fmla="*/ 4451879 h 4997112"/>
              <a:gd name="connsiteX3" fmla="*/ 430973 w 3509263"/>
              <a:gd name="connsiteY3" fmla="*/ 4894881 h 4997112"/>
              <a:gd name="connsiteX4" fmla="*/ 771743 w 3509263"/>
              <a:gd name="connsiteY4" fmla="*/ 4997112 h 4997112"/>
              <a:gd name="connsiteX5" fmla="*/ 1135231 w 3509263"/>
              <a:gd name="connsiteY5" fmla="*/ 4872163 h 4997112"/>
              <a:gd name="connsiteX6" fmla="*/ 3509263 w 3509263"/>
              <a:gd name="connsiteY6" fmla="*/ 2498130 h 4997112"/>
              <a:gd name="connsiteX7" fmla="*/ 1117296 w 3509263"/>
              <a:gd name="connsiteY7" fmla="*/ 118187 h 4997112"/>
              <a:gd name="connsiteX8" fmla="*/ 753426 w 3509263"/>
              <a:gd name="connsiteY8" fmla="*/ 4526 h 4997112"/>
              <a:gd name="connsiteX9" fmla="*/ 397553 w 3509263"/>
              <a:gd name="connsiteY9" fmla="*/ 145346 h 4997112"/>
              <a:gd name="connsiteX10" fmla="*/ 0 w 3509263"/>
              <a:gd name="connsiteY10" fmla="*/ 526104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64742 w 3500203"/>
              <a:gd name="connsiteY1" fmla="*/ 25023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5110 w 3505313"/>
              <a:gd name="connsiteY0" fmla="*/ 531610 h 4997112"/>
              <a:gd name="connsiteX1" fmla="*/ 1969852 w 3505313"/>
              <a:gd name="connsiteY1" fmla="*/ 2502390 h 4997112"/>
              <a:gd name="connsiteX2" fmla="*/ 0 w 3505313"/>
              <a:gd name="connsiteY2" fmla="*/ 4481321 h 4997112"/>
              <a:gd name="connsiteX3" fmla="*/ 427023 w 3505313"/>
              <a:gd name="connsiteY3" fmla="*/ 4894881 h 4997112"/>
              <a:gd name="connsiteX4" fmla="*/ 767793 w 3505313"/>
              <a:gd name="connsiteY4" fmla="*/ 4997112 h 4997112"/>
              <a:gd name="connsiteX5" fmla="*/ 1131281 w 3505313"/>
              <a:gd name="connsiteY5" fmla="*/ 4872163 h 4997112"/>
              <a:gd name="connsiteX6" fmla="*/ 3505313 w 3505313"/>
              <a:gd name="connsiteY6" fmla="*/ 2498130 h 4997112"/>
              <a:gd name="connsiteX7" fmla="*/ 1113346 w 3505313"/>
              <a:gd name="connsiteY7" fmla="*/ 118187 h 4997112"/>
              <a:gd name="connsiteX8" fmla="*/ 749476 w 3505313"/>
              <a:gd name="connsiteY8" fmla="*/ 4526 h 4997112"/>
              <a:gd name="connsiteX9" fmla="*/ 393603 w 3505313"/>
              <a:gd name="connsiteY9" fmla="*/ 145346 h 4997112"/>
              <a:gd name="connsiteX10" fmla="*/ 5110 w 3505313"/>
              <a:gd name="connsiteY10" fmla="*/ 531610 h 4997112"/>
              <a:gd name="connsiteX0" fmla="*/ 5110 w 3505313"/>
              <a:gd name="connsiteY0" fmla="*/ 531610 h 5288660"/>
              <a:gd name="connsiteX1" fmla="*/ 1969852 w 3505313"/>
              <a:gd name="connsiteY1" fmla="*/ 2502390 h 5288660"/>
              <a:gd name="connsiteX2" fmla="*/ 0 w 3505313"/>
              <a:gd name="connsiteY2" fmla="*/ 4481321 h 5288660"/>
              <a:gd name="connsiteX3" fmla="*/ 427023 w 3505313"/>
              <a:gd name="connsiteY3" fmla="*/ 4894881 h 5288660"/>
              <a:gd name="connsiteX4" fmla="*/ 767793 w 3505313"/>
              <a:gd name="connsiteY4" fmla="*/ 4997112 h 5288660"/>
              <a:gd name="connsiteX5" fmla="*/ 1131281 w 3505313"/>
              <a:gd name="connsiteY5" fmla="*/ 4872163 h 5288660"/>
              <a:gd name="connsiteX6" fmla="*/ 3505313 w 3505313"/>
              <a:gd name="connsiteY6" fmla="*/ 2498130 h 5288660"/>
              <a:gd name="connsiteX7" fmla="*/ 1113346 w 3505313"/>
              <a:gd name="connsiteY7" fmla="*/ 118187 h 5288660"/>
              <a:gd name="connsiteX8" fmla="*/ 749476 w 3505313"/>
              <a:gd name="connsiteY8" fmla="*/ 4526 h 5288660"/>
              <a:gd name="connsiteX9" fmla="*/ 393603 w 3505313"/>
              <a:gd name="connsiteY9" fmla="*/ 145346 h 5288660"/>
              <a:gd name="connsiteX10" fmla="*/ 5110 w 3505313"/>
              <a:gd name="connsiteY10" fmla="*/ 531610 h 5288660"/>
              <a:gd name="connsiteX0" fmla="*/ 5110 w 3505313"/>
              <a:gd name="connsiteY0" fmla="*/ 531610 h 5000898"/>
              <a:gd name="connsiteX1" fmla="*/ 1969852 w 3505313"/>
              <a:gd name="connsiteY1" fmla="*/ 2502390 h 5000898"/>
              <a:gd name="connsiteX2" fmla="*/ 0 w 3505313"/>
              <a:gd name="connsiteY2" fmla="*/ 4481321 h 5000898"/>
              <a:gd name="connsiteX3" fmla="*/ 427023 w 3505313"/>
              <a:gd name="connsiteY3" fmla="*/ 4894881 h 5000898"/>
              <a:gd name="connsiteX4" fmla="*/ 767793 w 3505313"/>
              <a:gd name="connsiteY4" fmla="*/ 4997112 h 5000898"/>
              <a:gd name="connsiteX5" fmla="*/ 1131281 w 3505313"/>
              <a:gd name="connsiteY5" fmla="*/ 4872163 h 5000898"/>
              <a:gd name="connsiteX6" fmla="*/ 3505313 w 3505313"/>
              <a:gd name="connsiteY6" fmla="*/ 2498130 h 5000898"/>
              <a:gd name="connsiteX7" fmla="*/ 1113346 w 3505313"/>
              <a:gd name="connsiteY7" fmla="*/ 118187 h 5000898"/>
              <a:gd name="connsiteX8" fmla="*/ 749476 w 3505313"/>
              <a:gd name="connsiteY8" fmla="*/ 4526 h 5000898"/>
              <a:gd name="connsiteX9" fmla="*/ 393603 w 3505313"/>
              <a:gd name="connsiteY9" fmla="*/ 145346 h 5000898"/>
              <a:gd name="connsiteX10" fmla="*/ 5110 w 3505313"/>
              <a:gd name="connsiteY10" fmla="*/ 531610 h 5000898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29652 h 5005303"/>
              <a:gd name="connsiteX1" fmla="*/ 1969852 w 3505313"/>
              <a:gd name="connsiteY1" fmla="*/ 2500432 h 5005303"/>
              <a:gd name="connsiteX2" fmla="*/ 0 w 3505313"/>
              <a:gd name="connsiteY2" fmla="*/ 4479363 h 5005303"/>
              <a:gd name="connsiteX3" fmla="*/ 427023 w 3505313"/>
              <a:gd name="connsiteY3" fmla="*/ 4892923 h 5005303"/>
              <a:gd name="connsiteX4" fmla="*/ 787503 w 3505313"/>
              <a:gd name="connsiteY4" fmla="*/ 5001517 h 5005303"/>
              <a:gd name="connsiteX5" fmla="*/ 1131281 w 3505313"/>
              <a:gd name="connsiteY5" fmla="*/ 4870205 h 5005303"/>
              <a:gd name="connsiteX6" fmla="*/ 3505313 w 3505313"/>
              <a:gd name="connsiteY6" fmla="*/ 2496172 h 5005303"/>
              <a:gd name="connsiteX7" fmla="*/ 1160106 w 3505313"/>
              <a:gd name="connsiteY7" fmla="*/ 158794 h 5005303"/>
              <a:gd name="connsiteX8" fmla="*/ 749476 w 3505313"/>
              <a:gd name="connsiteY8" fmla="*/ 2568 h 5005303"/>
              <a:gd name="connsiteX9" fmla="*/ 393603 w 3505313"/>
              <a:gd name="connsiteY9" fmla="*/ 143388 h 5005303"/>
              <a:gd name="connsiteX10" fmla="*/ 5110 w 3505313"/>
              <a:gd name="connsiteY10" fmla="*/ 529652 h 5005303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416 h 5008067"/>
              <a:gd name="connsiteX1" fmla="*/ 1969852 w 3505313"/>
              <a:gd name="connsiteY1" fmla="*/ 2503196 h 5008067"/>
              <a:gd name="connsiteX2" fmla="*/ 0 w 3505313"/>
              <a:gd name="connsiteY2" fmla="*/ 4482127 h 5008067"/>
              <a:gd name="connsiteX3" fmla="*/ 427023 w 3505313"/>
              <a:gd name="connsiteY3" fmla="*/ 4895687 h 5008067"/>
              <a:gd name="connsiteX4" fmla="*/ 787503 w 3505313"/>
              <a:gd name="connsiteY4" fmla="*/ 5004281 h 5008067"/>
              <a:gd name="connsiteX5" fmla="*/ 1131281 w 3505313"/>
              <a:gd name="connsiteY5" fmla="*/ 4872969 h 5008067"/>
              <a:gd name="connsiteX6" fmla="*/ 3505313 w 3505313"/>
              <a:gd name="connsiteY6" fmla="*/ 2498936 h 5008067"/>
              <a:gd name="connsiteX7" fmla="*/ 1160106 w 3505313"/>
              <a:gd name="connsiteY7" fmla="*/ 161558 h 5008067"/>
              <a:gd name="connsiteX8" fmla="*/ 796836 w 3505313"/>
              <a:gd name="connsiteY8" fmla="*/ 2318 h 5008067"/>
              <a:gd name="connsiteX9" fmla="*/ 393603 w 3505313"/>
              <a:gd name="connsiteY9" fmla="*/ 146152 h 5008067"/>
              <a:gd name="connsiteX10" fmla="*/ 5110 w 3505313"/>
              <a:gd name="connsiteY10" fmla="*/ 532416 h 500806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05313" h="5008317">
                <a:moveTo>
                  <a:pt x="5110" y="532666"/>
                </a:moveTo>
                <a:lnTo>
                  <a:pt x="1969852" y="2503446"/>
                </a:lnTo>
                <a:lnTo>
                  <a:pt x="0" y="4482377"/>
                </a:lnTo>
                <a:lnTo>
                  <a:pt x="427023" y="4895937"/>
                </a:lnTo>
                <a:cubicBezTo>
                  <a:pt x="510281" y="4969426"/>
                  <a:pt x="670127" y="5008317"/>
                  <a:pt x="787503" y="5004531"/>
                </a:cubicBezTo>
                <a:cubicBezTo>
                  <a:pt x="904879" y="5000745"/>
                  <a:pt x="1004011" y="4978861"/>
                  <a:pt x="1131281" y="4873219"/>
                </a:cubicBezTo>
                <a:lnTo>
                  <a:pt x="3505313" y="2499186"/>
                </a:lnTo>
                <a:lnTo>
                  <a:pt x="1160106" y="161808"/>
                </a:lnTo>
                <a:cubicBezTo>
                  <a:pt x="1068649" y="89635"/>
                  <a:pt x="968345" y="5136"/>
                  <a:pt x="796836" y="2568"/>
                </a:cubicBezTo>
                <a:cubicBezTo>
                  <a:pt x="625327" y="0"/>
                  <a:pt x="475789" y="68559"/>
                  <a:pt x="393603" y="146402"/>
                </a:cubicBezTo>
                <a:lnTo>
                  <a:pt x="5110" y="532666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GB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Picture 3" descr="BlackLogo.png">
            <a:extLst>
              <a:ext uri="{FF2B5EF4-FFF2-40B4-BE49-F238E27FC236}">
                <a16:creationId xmlns:a16="http://schemas.microsoft.com/office/drawing/2014/main" id="{869DBAC2-5478-F694-E417-59154DEAC3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52645" y="196036"/>
            <a:ext cx="994827" cy="250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1953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only tex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>
            <a:extLst>
              <a:ext uri="{FF2B5EF4-FFF2-40B4-BE49-F238E27FC236}">
                <a16:creationId xmlns:a16="http://schemas.microsoft.com/office/drawing/2014/main" id="{C17A7ACC-E4FD-979E-11CA-11CFECF3CBF1}"/>
              </a:ext>
            </a:extLst>
          </p:cNvPr>
          <p:cNvSpPr/>
          <p:nvPr userDrawn="1"/>
        </p:nvSpPr>
        <p:spPr>
          <a:xfrm>
            <a:off x="1" y="0"/>
            <a:ext cx="8710952" cy="5143500"/>
          </a:xfrm>
          <a:custGeom>
            <a:avLst/>
            <a:gdLst>
              <a:gd name="connsiteX0" fmla="*/ 0 w 11617627"/>
              <a:gd name="connsiteY0" fmla="*/ 0 h 6859588"/>
              <a:gd name="connsiteX1" fmla="*/ 11617390 w 11617627"/>
              <a:gd name="connsiteY1" fmla="*/ 0 h 6859588"/>
              <a:gd name="connsiteX2" fmla="*/ 11617436 w 11617627"/>
              <a:gd name="connsiteY2" fmla="*/ 17155 h 6859588"/>
              <a:gd name="connsiteX3" fmla="*/ 11614749 w 11617627"/>
              <a:gd name="connsiteY3" fmla="*/ 6341288 h 6859588"/>
              <a:gd name="connsiteX4" fmla="*/ 11505529 w 11617627"/>
              <a:gd name="connsiteY4" fmla="*/ 6544332 h 6859588"/>
              <a:gd name="connsiteX5" fmla="*/ 11186064 w 11617627"/>
              <a:gd name="connsiteY5" fmla="*/ 6859588 h 6859588"/>
              <a:gd name="connsiteX6" fmla="*/ 11185804 w 11617627"/>
              <a:gd name="connsiteY6" fmla="*/ 6859588 h 6859588"/>
              <a:gd name="connsiteX7" fmla="*/ 0 w 11617627"/>
              <a:gd name="connsiteY7" fmla="*/ 6859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617627" h="6859588">
                <a:moveTo>
                  <a:pt x="0" y="0"/>
                </a:moveTo>
                <a:lnTo>
                  <a:pt x="11617390" y="0"/>
                </a:lnTo>
                <a:lnTo>
                  <a:pt x="11617436" y="17155"/>
                </a:lnTo>
                <a:cubicBezTo>
                  <a:pt x="11618731" y="627883"/>
                  <a:pt x="11612985" y="6051414"/>
                  <a:pt x="11614749" y="6341288"/>
                </a:cubicBezTo>
                <a:cubicBezTo>
                  <a:pt x="11614686" y="6390696"/>
                  <a:pt x="11574191" y="6477489"/>
                  <a:pt x="11505529" y="6544332"/>
                </a:cubicBezTo>
                <a:lnTo>
                  <a:pt x="11186064" y="6859588"/>
                </a:lnTo>
                <a:lnTo>
                  <a:pt x="11185804" y="6859588"/>
                </a:lnTo>
                <a:lnTo>
                  <a:pt x="0" y="6859588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GB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itle 12">
            <a:extLst>
              <a:ext uri="{FF2B5EF4-FFF2-40B4-BE49-F238E27FC236}">
                <a16:creationId xmlns:a16="http://schemas.microsoft.com/office/drawing/2014/main" id="{439CD316-0FF6-7187-BF0B-45DE80973C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571" y="1598141"/>
            <a:ext cx="4198817" cy="300013"/>
          </a:xfrm>
        </p:spPr>
        <p:txBody>
          <a:bodyPr wrap="square" anchor="b">
            <a:spAutoFit/>
          </a:bodyPr>
          <a:lstStyle>
            <a:lvl1pPr algn="l">
              <a:lnSpc>
                <a:spcPct val="100000"/>
              </a:lnSpc>
              <a:defRPr sz="1949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FDEDAC1-98C8-9EB2-213C-E421CB6C6A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5571" y="1977822"/>
            <a:ext cx="4198817" cy="320216"/>
          </a:xfrm>
        </p:spPr>
        <p:txBody>
          <a:bodyPr wrap="square">
            <a:spAutoFit/>
          </a:bodyPr>
          <a:lstStyle>
            <a:lvl1pPr marL="0" marR="0" indent="0" algn="l" defTabSz="816364" rtl="0" eaLnBrk="1" fontAlgn="base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9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69AA4C6-859A-08A7-A3C4-7F743F568559}"/>
              </a:ext>
            </a:extLst>
          </p:cNvPr>
          <p:cNvSpPr/>
          <p:nvPr userDrawn="1"/>
        </p:nvSpPr>
        <p:spPr>
          <a:xfrm>
            <a:off x="6839662" y="2679737"/>
            <a:ext cx="1413036" cy="2018970"/>
          </a:xfrm>
          <a:custGeom>
            <a:avLst/>
            <a:gdLst>
              <a:gd name="connsiteX0" fmla="*/ 0 w 3498574"/>
              <a:gd name="connsiteY0" fmla="*/ 533873 h 5009322"/>
              <a:gd name="connsiteX1" fmla="*/ 1965108 w 3498574"/>
              <a:gd name="connsiteY1" fmla="*/ 2498981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53550 w 3498574"/>
              <a:gd name="connsiteY1" fmla="*/ 2482688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41992 w 3498574"/>
              <a:gd name="connsiteY1" fmla="*/ 2497200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465050 w 3509263"/>
              <a:gd name="connsiteY9" fmla="*/ 102231 h 5009322"/>
              <a:gd name="connsiteX10" fmla="*/ 0 w 3509263"/>
              <a:gd name="connsiteY10" fmla="*/ 538314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397553 w 3509263"/>
              <a:gd name="connsiteY9" fmla="*/ 157556 h 5009322"/>
              <a:gd name="connsiteX10" fmla="*/ 0 w 3509263"/>
              <a:gd name="connsiteY10" fmla="*/ 538314 h 5009322"/>
              <a:gd name="connsiteX0" fmla="*/ 0 w 3509263"/>
              <a:gd name="connsiteY0" fmla="*/ 865832 h 5336840"/>
              <a:gd name="connsiteX1" fmla="*/ 1952681 w 3509263"/>
              <a:gd name="connsiteY1" fmla="*/ 2824718 h 5336840"/>
              <a:gd name="connsiteX2" fmla="*/ 10689 w 3509263"/>
              <a:gd name="connsiteY2" fmla="*/ 4791607 h 5336840"/>
              <a:gd name="connsiteX3" fmla="*/ 430973 w 3509263"/>
              <a:gd name="connsiteY3" fmla="*/ 5234609 h 5336840"/>
              <a:gd name="connsiteX4" fmla="*/ 771743 w 3509263"/>
              <a:gd name="connsiteY4" fmla="*/ 5336840 h 5336840"/>
              <a:gd name="connsiteX5" fmla="*/ 1135231 w 3509263"/>
              <a:gd name="connsiteY5" fmla="*/ 5211891 h 5336840"/>
              <a:gd name="connsiteX6" fmla="*/ 3509263 w 3509263"/>
              <a:gd name="connsiteY6" fmla="*/ 2837858 h 5336840"/>
              <a:gd name="connsiteX7" fmla="*/ 1078436 w 3509263"/>
              <a:gd name="connsiteY7" fmla="*/ 418390 h 5336840"/>
              <a:gd name="connsiteX8" fmla="*/ 737666 w 3509263"/>
              <a:gd name="connsiteY8" fmla="*/ 327518 h 5336840"/>
              <a:gd name="connsiteX9" fmla="*/ 397553 w 3509263"/>
              <a:gd name="connsiteY9" fmla="*/ 485074 h 5336840"/>
              <a:gd name="connsiteX10" fmla="*/ 0 w 3509263"/>
              <a:gd name="connsiteY10" fmla="*/ 865832 h 5336840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2840 h 5013848"/>
              <a:gd name="connsiteX1" fmla="*/ 1952681 w 3509263"/>
              <a:gd name="connsiteY1" fmla="*/ 2501726 h 5013848"/>
              <a:gd name="connsiteX2" fmla="*/ 10689 w 3509263"/>
              <a:gd name="connsiteY2" fmla="*/ 4468615 h 5013848"/>
              <a:gd name="connsiteX3" fmla="*/ 430973 w 3509263"/>
              <a:gd name="connsiteY3" fmla="*/ 4911617 h 5013848"/>
              <a:gd name="connsiteX4" fmla="*/ 771743 w 3509263"/>
              <a:gd name="connsiteY4" fmla="*/ 5013848 h 5013848"/>
              <a:gd name="connsiteX5" fmla="*/ 1135231 w 3509263"/>
              <a:gd name="connsiteY5" fmla="*/ 4888899 h 5013848"/>
              <a:gd name="connsiteX6" fmla="*/ 3509263 w 3509263"/>
              <a:gd name="connsiteY6" fmla="*/ 2514866 h 5013848"/>
              <a:gd name="connsiteX7" fmla="*/ 1117296 w 3509263"/>
              <a:gd name="connsiteY7" fmla="*/ 134923 h 5013848"/>
              <a:gd name="connsiteX8" fmla="*/ 737666 w 3509263"/>
              <a:gd name="connsiteY8" fmla="*/ 4526 h 5013848"/>
              <a:gd name="connsiteX9" fmla="*/ 397553 w 3509263"/>
              <a:gd name="connsiteY9" fmla="*/ 162082 h 5013848"/>
              <a:gd name="connsiteX10" fmla="*/ 0 w 3509263"/>
              <a:gd name="connsiteY10" fmla="*/ 542840 h 5013848"/>
              <a:gd name="connsiteX0" fmla="*/ 0 w 3509263"/>
              <a:gd name="connsiteY0" fmla="*/ 526104 h 4997112"/>
              <a:gd name="connsiteX1" fmla="*/ 1952681 w 3509263"/>
              <a:gd name="connsiteY1" fmla="*/ 2484990 h 4997112"/>
              <a:gd name="connsiteX2" fmla="*/ 10689 w 3509263"/>
              <a:gd name="connsiteY2" fmla="*/ 4451879 h 4997112"/>
              <a:gd name="connsiteX3" fmla="*/ 430973 w 3509263"/>
              <a:gd name="connsiteY3" fmla="*/ 4894881 h 4997112"/>
              <a:gd name="connsiteX4" fmla="*/ 771743 w 3509263"/>
              <a:gd name="connsiteY4" fmla="*/ 4997112 h 4997112"/>
              <a:gd name="connsiteX5" fmla="*/ 1135231 w 3509263"/>
              <a:gd name="connsiteY5" fmla="*/ 4872163 h 4997112"/>
              <a:gd name="connsiteX6" fmla="*/ 3509263 w 3509263"/>
              <a:gd name="connsiteY6" fmla="*/ 2498130 h 4997112"/>
              <a:gd name="connsiteX7" fmla="*/ 1117296 w 3509263"/>
              <a:gd name="connsiteY7" fmla="*/ 118187 h 4997112"/>
              <a:gd name="connsiteX8" fmla="*/ 753426 w 3509263"/>
              <a:gd name="connsiteY8" fmla="*/ 4526 h 4997112"/>
              <a:gd name="connsiteX9" fmla="*/ 397553 w 3509263"/>
              <a:gd name="connsiteY9" fmla="*/ 145346 h 4997112"/>
              <a:gd name="connsiteX10" fmla="*/ 0 w 3509263"/>
              <a:gd name="connsiteY10" fmla="*/ 526104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64742 w 3500203"/>
              <a:gd name="connsiteY1" fmla="*/ 25023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5110 w 3505313"/>
              <a:gd name="connsiteY0" fmla="*/ 531610 h 4997112"/>
              <a:gd name="connsiteX1" fmla="*/ 1969852 w 3505313"/>
              <a:gd name="connsiteY1" fmla="*/ 2502390 h 4997112"/>
              <a:gd name="connsiteX2" fmla="*/ 0 w 3505313"/>
              <a:gd name="connsiteY2" fmla="*/ 4481321 h 4997112"/>
              <a:gd name="connsiteX3" fmla="*/ 427023 w 3505313"/>
              <a:gd name="connsiteY3" fmla="*/ 4894881 h 4997112"/>
              <a:gd name="connsiteX4" fmla="*/ 767793 w 3505313"/>
              <a:gd name="connsiteY4" fmla="*/ 4997112 h 4997112"/>
              <a:gd name="connsiteX5" fmla="*/ 1131281 w 3505313"/>
              <a:gd name="connsiteY5" fmla="*/ 4872163 h 4997112"/>
              <a:gd name="connsiteX6" fmla="*/ 3505313 w 3505313"/>
              <a:gd name="connsiteY6" fmla="*/ 2498130 h 4997112"/>
              <a:gd name="connsiteX7" fmla="*/ 1113346 w 3505313"/>
              <a:gd name="connsiteY7" fmla="*/ 118187 h 4997112"/>
              <a:gd name="connsiteX8" fmla="*/ 749476 w 3505313"/>
              <a:gd name="connsiteY8" fmla="*/ 4526 h 4997112"/>
              <a:gd name="connsiteX9" fmla="*/ 393603 w 3505313"/>
              <a:gd name="connsiteY9" fmla="*/ 145346 h 4997112"/>
              <a:gd name="connsiteX10" fmla="*/ 5110 w 3505313"/>
              <a:gd name="connsiteY10" fmla="*/ 531610 h 4997112"/>
              <a:gd name="connsiteX0" fmla="*/ 5110 w 3505313"/>
              <a:gd name="connsiteY0" fmla="*/ 531610 h 5288660"/>
              <a:gd name="connsiteX1" fmla="*/ 1969852 w 3505313"/>
              <a:gd name="connsiteY1" fmla="*/ 2502390 h 5288660"/>
              <a:gd name="connsiteX2" fmla="*/ 0 w 3505313"/>
              <a:gd name="connsiteY2" fmla="*/ 4481321 h 5288660"/>
              <a:gd name="connsiteX3" fmla="*/ 427023 w 3505313"/>
              <a:gd name="connsiteY3" fmla="*/ 4894881 h 5288660"/>
              <a:gd name="connsiteX4" fmla="*/ 767793 w 3505313"/>
              <a:gd name="connsiteY4" fmla="*/ 4997112 h 5288660"/>
              <a:gd name="connsiteX5" fmla="*/ 1131281 w 3505313"/>
              <a:gd name="connsiteY5" fmla="*/ 4872163 h 5288660"/>
              <a:gd name="connsiteX6" fmla="*/ 3505313 w 3505313"/>
              <a:gd name="connsiteY6" fmla="*/ 2498130 h 5288660"/>
              <a:gd name="connsiteX7" fmla="*/ 1113346 w 3505313"/>
              <a:gd name="connsiteY7" fmla="*/ 118187 h 5288660"/>
              <a:gd name="connsiteX8" fmla="*/ 749476 w 3505313"/>
              <a:gd name="connsiteY8" fmla="*/ 4526 h 5288660"/>
              <a:gd name="connsiteX9" fmla="*/ 393603 w 3505313"/>
              <a:gd name="connsiteY9" fmla="*/ 145346 h 5288660"/>
              <a:gd name="connsiteX10" fmla="*/ 5110 w 3505313"/>
              <a:gd name="connsiteY10" fmla="*/ 531610 h 5288660"/>
              <a:gd name="connsiteX0" fmla="*/ 5110 w 3505313"/>
              <a:gd name="connsiteY0" fmla="*/ 531610 h 5000898"/>
              <a:gd name="connsiteX1" fmla="*/ 1969852 w 3505313"/>
              <a:gd name="connsiteY1" fmla="*/ 2502390 h 5000898"/>
              <a:gd name="connsiteX2" fmla="*/ 0 w 3505313"/>
              <a:gd name="connsiteY2" fmla="*/ 4481321 h 5000898"/>
              <a:gd name="connsiteX3" fmla="*/ 427023 w 3505313"/>
              <a:gd name="connsiteY3" fmla="*/ 4894881 h 5000898"/>
              <a:gd name="connsiteX4" fmla="*/ 767793 w 3505313"/>
              <a:gd name="connsiteY4" fmla="*/ 4997112 h 5000898"/>
              <a:gd name="connsiteX5" fmla="*/ 1131281 w 3505313"/>
              <a:gd name="connsiteY5" fmla="*/ 4872163 h 5000898"/>
              <a:gd name="connsiteX6" fmla="*/ 3505313 w 3505313"/>
              <a:gd name="connsiteY6" fmla="*/ 2498130 h 5000898"/>
              <a:gd name="connsiteX7" fmla="*/ 1113346 w 3505313"/>
              <a:gd name="connsiteY7" fmla="*/ 118187 h 5000898"/>
              <a:gd name="connsiteX8" fmla="*/ 749476 w 3505313"/>
              <a:gd name="connsiteY8" fmla="*/ 4526 h 5000898"/>
              <a:gd name="connsiteX9" fmla="*/ 393603 w 3505313"/>
              <a:gd name="connsiteY9" fmla="*/ 145346 h 5000898"/>
              <a:gd name="connsiteX10" fmla="*/ 5110 w 3505313"/>
              <a:gd name="connsiteY10" fmla="*/ 531610 h 5000898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29652 h 5005303"/>
              <a:gd name="connsiteX1" fmla="*/ 1969852 w 3505313"/>
              <a:gd name="connsiteY1" fmla="*/ 2500432 h 5005303"/>
              <a:gd name="connsiteX2" fmla="*/ 0 w 3505313"/>
              <a:gd name="connsiteY2" fmla="*/ 4479363 h 5005303"/>
              <a:gd name="connsiteX3" fmla="*/ 427023 w 3505313"/>
              <a:gd name="connsiteY3" fmla="*/ 4892923 h 5005303"/>
              <a:gd name="connsiteX4" fmla="*/ 787503 w 3505313"/>
              <a:gd name="connsiteY4" fmla="*/ 5001517 h 5005303"/>
              <a:gd name="connsiteX5" fmla="*/ 1131281 w 3505313"/>
              <a:gd name="connsiteY5" fmla="*/ 4870205 h 5005303"/>
              <a:gd name="connsiteX6" fmla="*/ 3505313 w 3505313"/>
              <a:gd name="connsiteY6" fmla="*/ 2496172 h 5005303"/>
              <a:gd name="connsiteX7" fmla="*/ 1160106 w 3505313"/>
              <a:gd name="connsiteY7" fmla="*/ 158794 h 5005303"/>
              <a:gd name="connsiteX8" fmla="*/ 749476 w 3505313"/>
              <a:gd name="connsiteY8" fmla="*/ 2568 h 5005303"/>
              <a:gd name="connsiteX9" fmla="*/ 393603 w 3505313"/>
              <a:gd name="connsiteY9" fmla="*/ 143388 h 5005303"/>
              <a:gd name="connsiteX10" fmla="*/ 5110 w 3505313"/>
              <a:gd name="connsiteY10" fmla="*/ 529652 h 5005303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416 h 5008067"/>
              <a:gd name="connsiteX1" fmla="*/ 1969852 w 3505313"/>
              <a:gd name="connsiteY1" fmla="*/ 2503196 h 5008067"/>
              <a:gd name="connsiteX2" fmla="*/ 0 w 3505313"/>
              <a:gd name="connsiteY2" fmla="*/ 4482127 h 5008067"/>
              <a:gd name="connsiteX3" fmla="*/ 427023 w 3505313"/>
              <a:gd name="connsiteY3" fmla="*/ 4895687 h 5008067"/>
              <a:gd name="connsiteX4" fmla="*/ 787503 w 3505313"/>
              <a:gd name="connsiteY4" fmla="*/ 5004281 h 5008067"/>
              <a:gd name="connsiteX5" fmla="*/ 1131281 w 3505313"/>
              <a:gd name="connsiteY5" fmla="*/ 4872969 h 5008067"/>
              <a:gd name="connsiteX6" fmla="*/ 3505313 w 3505313"/>
              <a:gd name="connsiteY6" fmla="*/ 2498936 h 5008067"/>
              <a:gd name="connsiteX7" fmla="*/ 1160106 w 3505313"/>
              <a:gd name="connsiteY7" fmla="*/ 161558 h 5008067"/>
              <a:gd name="connsiteX8" fmla="*/ 796836 w 3505313"/>
              <a:gd name="connsiteY8" fmla="*/ 2318 h 5008067"/>
              <a:gd name="connsiteX9" fmla="*/ 393603 w 3505313"/>
              <a:gd name="connsiteY9" fmla="*/ 146152 h 5008067"/>
              <a:gd name="connsiteX10" fmla="*/ 5110 w 3505313"/>
              <a:gd name="connsiteY10" fmla="*/ 532416 h 500806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05313" h="5008317">
                <a:moveTo>
                  <a:pt x="5110" y="532666"/>
                </a:moveTo>
                <a:lnTo>
                  <a:pt x="1969852" y="2503446"/>
                </a:lnTo>
                <a:lnTo>
                  <a:pt x="0" y="4482377"/>
                </a:lnTo>
                <a:lnTo>
                  <a:pt x="427023" y="4895937"/>
                </a:lnTo>
                <a:cubicBezTo>
                  <a:pt x="510281" y="4969426"/>
                  <a:pt x="670127" y="5008317"/>
                  <a:pt x="787503" y="5004531"/>
                </a:cubicBezTo>
                <a:cubicBezTo>
                  <a:pt x="904879" y="5000745"/>
                  <a:pt x="1004011" y="4978861"/>
                  <a:pt x="1131281" y="4873219"/>
                </a:cubicBezTo>
                <a:lnTo>
                  <a:pt x="3505313" y="2499186"/>
                </a:lnTo>
                <a:lnTo>
                  <a:pt x="1160106" y="161808"/>
                </a:lnTo>
                <a:cubicBezTo>
                  <a:pt x="1068649" y="89635"/>
                  <a:pt x="968345" y="5136"/>
                  <a:pt x="796836" y="2568"/>
                </a:cubicBezTo>
                <a:cubicBezTo>
                  <a:pt x="625327" y="0"/>
                  <a:pt x="475789" y="68559"/>
                  <a:pt x="393603" y="146402"/>
                </a:cubicBezTo>
                <a:lnTo>
                  <a:pt x="5110" y="532666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BlackLogo.png">
            <a:extLst>
              <a:ext uri="{FF2B5EF4-FFF2-40B4-BE49-F238E27FC236}">
                <a16:creationId xmlns:a16="http://schemas.microsoft.com/office/drawing/2014/main" id="{CA64BC7F-FB00-C33A-1EF3-08D235F030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52645" y="196036"/>
            <a:ext cx="994827" cy="250478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3F418D-0B70-C74A-C8A2-705BFA8969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52856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gn_Off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2449748" y="2585820"/>
            <a:ext cx="4244504" cy="332322"/>
          </a:xfrm>
        </p:spPr>
        <p:txBody>
          <a:bodyPr wrap="square" anchor="b">
            <a:spAutoFit/>
          </a:bodyPr>
          <a:lstStyle>
            <a:lvl1pPr algn="ctr">
              <a:lnSpc>
                <a:spcPct val="90000"/>
              </a:lnSpc>
              <a:defRPr sz="2399" b="1" spc="-22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Thank you!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48DFB490-311A-151A-F6B0-BBC45E65BEBF}"/>
              </a:ext>
            </a:extLst>
          </p:cNvPr>
          <p:cNvSpPr/>
          <p:nvPr userDrawn="1"/>
        </p:nvSpPr>
        <p:spPr>
          <a:xfrm flipH="1">
            <a:off x="5990813" y="1858213"/>
            <a:ext cx="1251060" cy="1787537"/>
          </a:xfrm>
          <a:custGeom>
            <a:avLst/>
            <a:gdLst>
              <a:gd name="connsiteX0" fmla="*/ 0 w 3498574"/>
              <a:gd name="connsiteY0" fmla="*/ 533873 h 5009322"/>
              <a:gd name="connsiteX1" fmla="*/ 1965108 w 3498574"/>
              <a:gd name="connsiteY1" fmla="*/ 2498981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53550 w 3498574"/>
              <a:gd name="connsiteY1" fmla="*/ 2482688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41992 w 3498574"/>
              <a:gd name="connsiteY1" fmla="*/ 2497200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465050 w 3509263"/>
              <a:gd name="connsiteY9" fmla="*/ 102231 h 5009322"/>
              <a:gd name="connsiteX10" fmla="*/ 0 w 3509263"/>
              <a:gd name="connsiteY10" fmla="*/ 538314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397553 w 3509263"/>
              <a:gd name="connsiteY9" fmla="*/ 157556 h 5009322"/>
              <a:gd name="connsiteX10" fmla="*/ 0 w 3509263"/>
              <a:gd name="connsiteY10" fmla="*/ 538314 h 5009322"/>
              <a:gd name="connsiteX0" fmla="*/ 0 w 3509263"/>
              <a:gd name="connsiteY0" fmla="*/ 865832 h 5336840"/>
              <a:gd name="connsiteX1" fmla="*/ 1952681 w 3509263"/>
              <a:gd name="connsiteY1" fmla="*/ 2824718 h 5336840"/>
              <a:gd name="connsiteX2" fmla="*/ 10689 w 3509263"/>
              <a:gd name="connsiteY2" fmla="*/ 4791607 h 5336840"/>
              <a:gd name="connsiteX3" fmla="*/ 430973 w 3509263"/>
              <a:gd name="connsiteY3" fmla="*/ 5234609 h 5336840"/>
              <a:gd name="connsiteX4" fmla="*/ 771743 w 3509263"/>
              <a:gd name="connsiteY4" fmla="*/ 5336840 h 5336840"/>
              <a:gd name="connsiteX5" fmla="*/ 1135231 w 3509263"/>
              <a:gd name="connsiteY5" fmla="*/ 5211891 h 5336840"/>
              <a:gd name="connsiteX6" fmla="*/ 3509263 w 3509263"/>
              <a:gd name="connsiteY6" fmla="*/ 2837858 h 5336840"/>
              <a:gd name="connsiteX7" fmla="*/ 1078436 w 3509263"/>
              <a:gd name="connsiteY7" fmla="*/ 418390 h 5336840"/>
              <a:gd name="connsiteX8" fmla="*/ 737666 w 3509263"/>
              <a:gd name="connsiteY8" fmla="*/ 327518 h 5336840"/>
              <a:gd name="connsiteX9" fmla="*/ 397553 w 3509263"/>
              <a:gd name="connsiteY9" fmla="*/ 485074 h 5336840"/>
              <a:gd name="connsiteX10" fmla="*/ 0 w 3509263"/>
              <a:gd name="connsiteY10" fmla="*/ 865832 h 5336840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2840 h 5013848"/>
              <a:gd name="connsiteX1" fmla="*/ 1952681 w 3509263"/>
              <a:gd name="connsiteY1" fmla="*/ 2501726 h 5013848"/>
              <a:gd name="connsiteX2" fmla="*/ 10689 w 3509263"/>
              <a:gd name="connsiteY2" fmla="*/ 4468615 h 5013848"/>
              <a:gd name="connsiteX3" fmla="*/ 430973 w 3509263"/>
              <a:gd name="connsiteY3" fmla="*/ 4911617 h 5013848"/>
              <a:gd name="connsiteX4" fmla="*/ 771743 w 3509263"/>
              <a:gd name="connsiteY4" fmla="*/ 5013848 h 5013848"/>
              <a:gd name="connsiteX5" fmla="*/ 1135231 w 3509263"/>
              <a:gd name="connsiteY5" fmla="*/ 4888899 h 5013848"/>
              <a:gd name="connsiteX6" fmla="*/ 3509263 w 3509263"/>
              <a:gd name="connsiteY6" fmla="*/ 2514866 h 5013848"/>
              <a:gd name="connsiteX7" fmla="*/ 1117296 w 3509263"/>
              <a:gd name="connsiteY7" fmla="*/ 134923 h 5013848"/>
              <a:gd name="connsiteX8" fmla="*/ 737666 w 3509263"/>
              <a:gd name="connsiteY8" fmla="*/ 4526 h 5013848"/>
              <a:gd name="connsiteX9" fmla="*/ 397553 w 3509263"/>
              <a:gd name="connsiteY9" fmla="*/ 162082 h 5013848"/>
              <a:gd name="connsiteX10" fmla="*/ 0 w 3509263"/>
              <a:gd name="connsiteY10" fmla="*/ 542840 h 5013848"/>
              <a:gd name="connsiteX0" fmla="*/ 0 w 3509263"/>
              <a:gd name="connsiteY0" fmla="*/ 526104 h 4997112"/>
              <a:gd name="connsiteX1" fmla="*/ 1952681 w 3509263"/>
              <a:gd name="connsiteY1" fmla="*/ 2484990 h 4997112"/>
              <a:gd name="connsiteX2" fmla="*/ 10689 w 3509263"/>
              <a:gd name="connsiteY2" fmla="*/ 4451879 h 4997112"/>
              <a:gd name="connsiteX3" fmla="*/ 430973 w 3509263"/>
              <a:gd name="connsiteY3" fmla="*/ 4894881 h 4997112"/>
              <a:gd name="connsiteX4" fmla="*/ 771743 w 3509263"/>
              <a:gd name="connsiteY4" fmla="*/ 4997112 h 4997112"/>
              <a:gd name="connsiteX5" fmla="*/ 1135231 w 3509263"/>
              <a:gd name="connsiteY5" fmla="*/ 4872163 h 4997112"/>
              <a:gd name="connsiteX6" fmla="*/ 3509263 w 3509263"/>
              <a:gd name="connsiteY6" fmla="*/ 2498130 h 4997112"/>
              <a:gd name="connsiteX7" fmla="*/ 1117296 w 3509263"/>
              <a:gd name="connsiteY7" fmla="*/ 118187 h 4997112"/>
              <a:gd name="connsiteX8" fmla="*/ 753426 w 3509263"/>
              <a:gd name="connsiteY8" fmla="*/ 4526 h 4997112"/>
              <a:gd name="connsiteX9" fmla="*/ 397553 w 3509263"/>
              <a:gd name="connsiteY9" fmla="*/ 145346 h 4997112"/>
              <a:gd name="connsiteX10" fmla="*/ 0 w 3509263"/>
              <a:gd name="connsiteY10" fmla="*/ 526104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64742 w 3500203"/>
              <a:gd name="connsiteY1" fmla="*/ 25023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5110 w 3505313"/>
              <a:gd name="connsiteY0" fmla="*/ 531610 h 4997112"/>
              <a:gd name="connsiteX1" fmla="*/ 1969852 w 3505313"/>
              <a:gd name="connsiteY1" fmla="*/ 2502390 h 4997112"/>
              <a:gd name="connsiteX2" fmla="*/ 0 w 3505313"/>
              <a:gd name="connsiteY2" fmla="*/ 4481321 h 4997112"/>
              <a:gd name="connsiteX3" fmla="*/ 427023 w 3505313"/>
              <a:gd name="connsiteY3" fmla="*/ 4894881 h 4997112"/>
              <a:gd name="connsiteX4" fmla="*/ 767793 w 3505313"/>
              <a:gd name="connsiteY4" fmla="*/ 4997112 h 4997112"/>
              <a:gd name="connsiteX5" fmla="*/ 1131281 w 3505313"/>
              <a:gd name="connsiteY5" fmla="*/ 4872163 h 4997112"/>
              <a:gd name="connsiteX6" fmla="*/ 3505313 w 3505313"/>
              <a:gd name="connsiteY6" fmla="*/ 2498130 h 4997112"/>
              <a:gd name="connsiteX7" fmla="*/ 1113346 w 3505313"/>
              <a:gd name="connsiteY7" fmla="*/ 118187 h 4997112"/>
              <a:gd name="connsiteX8" fmla="*/ 749476 w 3505313"/>
              <a:gd name="connsiteY8" fmla="*/ 4526 h 4997112"/>
              <a:gd name="connsiteX9" fmla="*/ 393603 w 3505313"/>
              <a:gd name="connsiteY9" fmla="*/ 145346 h 4997112"/>
              <a:gd name="connsiteX10" fmla="*/ 5110 w 3505313"/>
              <a:gd name="connsiteY10" fmla="*/ 531610 h 4997112"/>
              <a:gd name="connsiteX0" fmla="*/ 5110 w 3505313"/>
              <a:gd name="connsiteY0" fmla="*/ 531610 h 5288660"/>
              <a:gd name="connsiteX1" fmla="*/ 1969852 w 3505313"/>
              <a:gd name="connsiteY1" fmla="*/ 2502390 h 5288660"/>
              <a:gd name="connsiteX2" fmla="*/ 0 w 3505313"/>
              <a:gd name="connsiteY2" fmla="*/ 4481321 h 5288660"/>
              <a:gd name="connsiteX3" fmla="*/ 427023 w 3505313"/>
              <a:gd name="connsiteY3" fmla="*/ 4894881 h 5288660"/>
              <a:gd name="connsiteX4" fmla="*/ 767793 w 3505313"/>
              <a:gd name="connsiteY4" fmla="*/ 4997112 h 5288660"/>
              <a:gd name="connsiteX5" fmla="*/ 1131281 w 3505313"/>
              <a:gd name="connsiteY5" fmla="*/ 4872163 h 5288660"/>
              <a:gd name="connsiteX6" fmla="*/ 3505313 w 3505313"/>
              <a:gd name="connsiteY6" fmla="*/ 2498130 h 5288660"/>
              <a:gd name="connsiteX7" fmla="*/ 1113346 w 3505313"/>
              <a:gd name="connsiteY7" fmla="*/ 118187 h 5288660"/>
              <a:gd name="connsiteX8" fmla="*/ 749476 w 3505313"/>
              <a:gd name="connsiteY8" fmla="*/ 4526 h 5288660"/>
              <a:gd name="connsiteX9" fmla="*/ 393603 w 3505313"/>
              <a:gd name="connsiteY9" fmla="*/ 145346 h 5288660"/>
              <a:gd name="connsiteX10" fmla="*/ 5110 w 3505313"/>
              <a:gd name="connsiteY10" fmla="*/ 531610 h 5288660"/>
              <a:gd name="connsiteX0" fmla="*/ 5110 w 3505313"/>
              <a:gd name="connsiteY0" fmla="*/ 531610 h 5000898"/>
              <a:gd name="connsiteX1" fmla="*/ 1969852 w 3505313"/>
              <a:gd name="connsiteY1" fmla="*/ 2502390 h 5000898"/>
              <a:gd name="connsiteX2" fmla="*/ 0 w 3505313"/>
              <a:gd name="connsiteY2" fmla="*/ 4481321 h 5000898"/>
              <a:gd name="connsiteX3" fmla="*/ 427023 w 3505313"/>
              <a:gd name="connsiteY3" fmla="*/ 4894881 h 5000898"/>
              <a:gd name="connsiteX4" fmla="*/ 767793 w 3505313"/>
              <a:gd name="connsiteY4" fmla="*/ 4997112 h 5000898"/>
              <a:gd name="connsiteX5" fmla="*/ 1131281 w 3505313"/>
              <a:gd name="connsiteY5" fmla="*/ 4872163 h 5000898"/>
              <a:gd name="connsiteX6" fmla="*/ 3505313 w 3505313"/>
              <a:gd name="connsiteY6" fmla="*/ 2498130 h 5000898"/>
              <a:gd name="connsiteX7" fmla="*/ 1113346 w 3505313"/>
              <a:gd name="connsiteY7" fmla="*/ 118187 h 5000898"/>
              <a:gd name="connsiteX8" fmla="*/ 749476 w 3505313"/>
              <a:gd name="connsiteY8" fmla="*/ 4526 h 5000898"/>
              <a:gd name="connsiteX9" fmla="*/ 393603 w 3505313"/>
              <a:gd name="connsiteY9" fmla="*/ 145346 h 5000898"/>
              <a:gd name="connsiteX10" fmla="*/ 5110 w 3505313"/>
              <a:gd name="connsiteY10" fmla="*/ 531610 h 5000898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29652 h 5005303"/>
              <a:gd name="connsiteX1" fmla="*/ 1969852 w 3505313"/>
              <a:gd name="connsiteY1" fmla="*/ 2500432 h 5005303"/>
              <a:gd name="connsiteX2" fmla="*/ 0 w 3505313"/>
              <a:gd name="connsiteY2" fmla="*/ 4479363 h 5005303"/>
              <a:gd name="connsiteX3" fmla="*/ 427023 w 3505313"/>
              <a:gd name="connsiteY3" fmla="*/ 4892923 h 5005303"/>
              <a:gd name="connsiteX4" fmla="*/ 787503 w 3505313"/>
              <a:gd name="connsiteY4" fmla="*/ 5001517 h 5005303"/>
              <a:gd name="connsiteX5" fmla="*/ 1131281 w 3505313"/>
              <a:gd name="connsiteY5" fmla="*/ 4870205 h 5005303"/>
              <a:gd name="connsiteX6" fmla="*/ 3505313 w 3505313"/>
              <a:gd name="connsiteY6" fmla="*/ 2496172 h 5005303"/>
              <a:gd name="connsiteX7" fmla="*/ 1160106 w 3505313"/>
              <a:gd name="connsiteY7" fmla="*/ 158794 h 5005303"/>
              <a:gd name="connsiteX8" fmla="*/ 749476 w 3505313"/>
              <a:gd name="connsiteY8" fmla="*/ 2568 h 5005303"/>
              <a:gd name="connsiteX9" fmla="*/ 393603 w 3505313"/>
              <a:gd name="connsiteY9" fmla="*/ 143388 h 5005303"/>
              <a:gd name="connsiteX10" fmla="*/ 5110 w 3505313"/>
              <a:gd name="connsiteY10" fmla="*/ 529652 h 5005303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416 h 5008067"/>
              <a:gd name="connsiteX1" fmla="*/ 1969852 w 3505313"/>
              <a:gd name="connsiteY1" fmla="*/ 2503196 h 5008067"/>
              <a:gd name="connsiteX2" fmla="*/ 0 w 3505313"/>
              <a:gd name="connsiteY2" fmla="*/ 4482127 h 5008067"/>
              <a:gd name="connsiteX3" fmla="*/ 427023 w 3505313"/>
              <a:gd name="connsiteY3" fmla="*/ 4895687 h 5008067"/>
              <a:gd name="connsiteX4" fmla="*/ 787503 w 3505313"/>
              <a:gd name="connsiteY4" fmla="*/ 5004281 h 5008067"/>
              <a:gd name="connsiteX5" fmla="*/ 1131281 w 3505313"/>
              <a:gd name="connsiteY5" fmla="*/ 4872969 h 5008067"/>
              <a:gd name="connsiteX6" fmla="*/ 3505313 w 3505313"/>
              <a:gd name="connsiteY6" fmla="*/ 2498936 h 5008067"/>
              <a:gd name="connsiteX7" fmla="*/ 1160106 w 3505313"/>
              <a:gd name="connsiteY7" fmla="*/ 161558 h 5008067"/>
              <a:gd name="connsiteX8" fmla="*/ 796836 w 3505313"/>
              <a:gd name="connsiteY8" fmla="*/ 2318 h 5008067"/>
              <a:gd name="connsiteX9" fmla="*/ 393603 w 3505313"/>
              <a:gd name="connsiteY9" fmla="*/ 146152 h 5008067"/>
              <a:gd name="connsiteX10" fmla="*/ 5110 w 3505313"/>
              <a:gd name="connsiteY10" fmla="*/ 532416 h 500806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05313" h="5008317">
                <a:moveTo>
                  <a:pt x="5110" y="532666"/>
                </a:moveTo>
                <a:lnTo>
                  <a:pt x="1969852" y="2503446"/>
                </a:lnTo>
                <a:lnTo>
                  <a:pt x="0" y="4482377"/>
                </a:lnTo>
                <a:lnTo>
                  <a:pt x="427023" y="4895937"/>
                </a:lnTo>
                <a:cubicBezTo>
                  <a:pt x="510281" y="4969426"/>
                  <a:pt x="670127" y="5008317"/>
                  <a:pt x="787503" y="5004531"/>
                </a:cubicBezTo>
                <a:cubicBezTo>
                  <a:pt x="904879" y="5000745"/>
                  <a:pt x="1004011" y="4978861"/>
                  <a:pt x="1131281" y="4873219"/>
                </a:cubicBezTo>
                <a:lnTo>
                  <a:pt x="3505313" y="2499186"/>
                </a:lnTo>
                <a:lnTo>
                  <a:pt x="1160106" y="161808"/>
                </a:lnTo>
                <a:cubicBezTo>
                  <a:pt x="1068649" y="89635"/>
                  <a:pt x="968345" y="5136"/>
                  <a:pt x="796836" y="2568"/>
                </a:cubicBezTo>
                <a:cubicBezTo>
                  <a:pt x="625327" y="0"/>
                  <a:pt x="475789" y="68559"/>
                  <a:pt x="393603" y="146402"/>
                </a:cubicBezTo>
                <a:lnTo>
                  <a:pt x="5110" y="532666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172933B2-1A60-AF63-01E1-DF0F92A02685}"/>
              </a:ext>
            </a:extLst>
          </p:cNvPr>
          <p:cNvSpPr/>
          <p:nvPr userDrawn="1"/>
        </p:nvSpPr>
        <p:spPr>
          <a:xfrm rot="10800000" flipH="1">
            <a:off x="1902128" y="1858213"/>
            <a:ext cx="1251060" cy="1787537"/>
          </a:xfrm>
          <a:custGeom>
            <a:avLst/>
            <a:gdLst>
              <a:gd name="connsiteX0" fmla="*/ 0 w 3498574"/>
              <a:gd name="connsiteY0" fmla="*/ 533873 h 5009322"/>
              <a:gd name="connsiteX1" fmla="*/ 1965108 w 3498574"/>
              <a:gd name="connsiteY1" fmla="*/ 2498981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53550 w 3498574"/>
              <a:gd name="connsiteY1" fmla="*/ 2482688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41992 w 3498574"/>
              <a:gd name="connsiteY1" fmla="*/ 2497200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465050 w 3509263"/>
              <a:gd name="connsiteY9" fmla="*/ 102231 h 5009322"/>
              <a:gd name="connsiteX10" fmla="*/ 0 w 3509263"/>
              <a:gd name="connsiteY10" fmla="*/ 538314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397553 w 3509263"/>
              <a:gd name="connsiteY9" fmla="*/ 157556 h 5009322"/>
              <a:gd name="connsiteX10" fmla="*/ 0 w 3509263"/>
              <a:gd name="connsiteY10" fmla="*/ 538314 h 5009322"/>
              <a:gd name="connsiteX0" fmla="*/ 0 w 3509263"/>
              <a:gd name="connsiteY0" fmla="*/ 865832 h 5336840"/>
              <a:gd name="connsiteX1" fmla="*/ 1952681 w 3509263"/>
              <a:gd name="connsiteY1" fmla="*/ 2824718 h 5336840"/>
              <a:gd name="connsiteX2" fmla="*/ 10689 w 3509263"/>
              <a:gd name="connsiteY2" fmla="*/ 4791607 h 5336840"/>
              <a:gd name="connsiteX3" fmla="*/ 430973 w 3509263"/>
              <a:gd name="connsiteY3" fmla="*/ 5234609 h 5336840"/>
              <a:gd name="connsiteX4" fmla="*/ 771743 w 3509263"/>
              <a:gd name="connsiteY4" fmla="*/ 5336840 h 5336840"/>
              <a:gd name="connsiteX5" fmla="*/ 1135231 w 3509263"/>
              <a:gd name="connsiteY5" fmla="*/ 5211891 h 5336840"/>
              <a:gd name="connsiteX6" fmla="*/ 3509263 w 3509263"/>
              <a:gd name="connsiteY6" fmla="*/ 2837858 h 5336840"/>
              <a:gd name="connsiteX7" fmla="*/ 1078436 w 3509263"/>
              <a:gd name="connsiteY7" fmla="*/ 418390 h 5336840"/>
              <a:gd name="connsiteX8" fmla="*/ 737666 w 3509263"/>
              <a:gd name="connsiteY8" fmla="*/ 327518 h 5336840"/>
              <a:gd name="connsiteX9" fmla="*/ 397553 w 3509263"/>
              <a:gd name="connsiteY9" fmla="*/ 485074 h 5336840"/>
              <a:gd name="connsiteX10" fmla="*/ 0 w 3509263"/>
              <a:gd name="connsiteY10" fmla="*/ 865832 h 5336840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2840 h 5013848"/>
              <a:gd name="connsiteX1" fmla="*/ 1952681 w 3509263"/>
              <a:gd name="connsiteY1" fmla="*/ 2501726 h 5013848"/>
              <a:gd name="connsiteX2" fmla="*/ 10689 w 3509263"/>
              <a:gd name="connsiteY2" fmla="*/ 4468615 h 5013848"/>
              <a:gd name="connsiteX3" fmla="*/ 430973 w 3509263"/>
              <a:gd name="connsiteY3" fmla="*/ 4911617 h 5013848"/>
              <a:gd name="connsiteX4" fmla="*/ 771743 w 3509263"/>
              <a:gd name="connsiteY4" fmla="*/ 5013848 h 5013848"/>
              <a:gd name="connsiteX5" fmla="*/ 1135231 w 3509263"/>
              <a:gd name="connsiteY5" fmla="*/ 4888899 h 5013848"/>
              <a:gd name="connsiteX6" fmla="*/ 3509263 w 3509263"/>
              <a:gd name="connsiteY6" fmla="*/ 2514866 h 5013848"/>
              <a:gd name="connsiteX7" fmla="*/ 1117296 w 3509263"/>
              <a:gd name="connsiteY7" fmla="*/ 134923 h 5013848"/>
              <a:gd name="connsiteX8" fmla="*/ 737666 w 3509263"/>
              <a:gd name="connsiteY8" fmla="*/ 4526 h 5013848"/>
              <a:gd name="connsiteX9" fmla="*/ 397553 w 3509263"/>
              <a:gd name="connsiteY9" fmla="*/ 162082 h 5013848"/>
              <a:gd name="connsiteX10" fmla="*/ 0 w 3509263"/>
              <a:gd name="connsiteY10" fmla="*/ 542840 h 5013848"/>
              <a:gd name="connsiteX0" fmla="*/ 0 w 3509263"/>
              <a:gd name="connsiteY0" fmla="*/ 526104 h 4997112"/>
              <a:gd name="connsiteX1" fmla="*/ 1952681 w 3509263"/>
              <a:gd name="connsiteY1" fmla="*/ 2484990 h 4997112"/>
              <a:gd name="connsiteX2" fmla="*/ 10689 w 3509263"/>
              <a:gd name="connsiteY2" fmla="*/ 4451879 h 4997112"/>
              <a:gd name="connsiteX3" fmla="*/ 430973 w 3509263"/>
              <a:gd name="connsiteY3" fmla="*/ 4894881 h 4997112"/>
              <a:gd name="connsiteX4" fmla="*/ 771743 w 3509263"/>
              <a:gd name="connsiteY4" fmla="*/ 4997112 h 4997112"/>
              <a:gd name="connsiteX5" fmla="*/ 1135231 w 3509263"/>
              <a:gd name="connsiteY5" fmla="*/ 4872163 h 4997112"/>
              <a:gd name="connsiteX6" fmla="*/ 3509263 w 3509263"/>
              <a:gd name="connsiteY6" fmla="*/ 2498130 h 4997112"/>
              <a:gd name="connsiteX7" fmla="*/ 1117296 w 3509263"/>
              <a:gd name="connsiteY7" fmla="*/ 118187 h 4997112"/>
              <a:gd name="connsiteX8" fmla="*/ 753426 w 3509263"/>
              <a:gd name="connsiteY8" fmla="*/ 4526 h 4997112"/>
              <a:gd name="connsiteX9" fmla="*/ 397553 w 3509263"/>
              <a:gd name="connsiteY9" fmla="*/ 145346 h 4997112"/>
              <a:gd name="connsiteX10" fmla="*/ 0 w 3509263"/>
              <a:gd name="connsiteY10" fmla="*/ 526104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64742 w 3500203"/>
              <a:gd name="connsiteY1" fmla="*/ 25023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5110 w 3505313"/>
              <a:gd name="connsiteY0" fmla="*/ 531610 h 4997112"/>
              <a:gd name="connsiteX1" fmla="*/ 1969852 w 3505313"/>
              <a:gd name="connsiteY1" fmla="*/ 2502390 h 4997112"/>
              <a:gd name="connsiteX2" fmla="*/ 0 w 3505313"/>
              <a:gd name="connsiteY2" fmla="*/ 4481321 h 4997112"/>
              <a:gd name="connsiteX3" fmla="*/ 427023 w 3505313"/>
              <a:gd name="connsiteY3" fmla="*/ 4894881 h 4997112"/>
              <a:gd name="connsiteX4" fmla="*/ 767793 w 3505313"/>
              <a:gd name="connsiteY4" fmla="*/ 4997112 h 4997112"/>
              <a:gd name="connsiteX5" fmla="*/ 1131281 w 3505313"/>
              <a:gd name="connsiteY5" fmla="*/ 4872163 h 4997112"/>
              <a:gd name="connsiteX6" fmla="*/ 3505313 w 3505313"/>
              <a:gd name="connsiteY6" fmla="*/ 2498130 h 4997112"/>
              <a:gd name="connsiteX7" fmla="*/ 1113346 w 3505313"/>
              <a:gd name="connsiteY7" fmla="*/ 118187 h 4997112"/>
              <a:gd name="connsiteX8" fmla="*/ 749476 w 3505313"/>
              <a:gd name="connsiteY8" fmla="*/ 4526 h 4997112"/>
              <a:gd name="connsiteX9" fmla="*/ 393603 w 3505313"/>
              <a:gd name="connsiteY9" fmla="*/ 145346 h 4997112"/>
              <a:gd name="connsiteX10" fmla="*/ 5110 w 3505313"/>
              <a:gd name="connsiteY10" fmla="*/ 531610 h 4997112"/>
              <a:gd name="connsiteX0" fmla="*/ 5110 w 3505313"/>
              <a:gd name="connsiteY0" fmla="*/ 531610 h 5288660"/>
              <a:gd name="connsiteX1" fmla="*/ 1969852 w 3505313"/>
              <a:gd name="connsiteY1" fmla="*/ 2502390 h 5288660"/>
              <a:gd name="connsiteX2" fmla="*/ 0 w 3505313"/>
              <a:gd name="connsiteY2" fmla="*/ 4481321 h 5288660"/>
              <a:gd name="connsiteX3" fmla="*/ 427023 w 3505313"/>
              <a:gd name="connsiteY3" fmla="*/ 4894881 h 5288660"/>
              <a:gd name="connsiteX4" fmla="*/ 767793 w 3505313"/>
              <a:gd name="connsiteY4" fmla="*/ 4997112 h 5288660"/>
              <a:gd name="connsiteX5" fmla="*/ 1131281 w 3505313"/>
              <a:gd name="connsiteY5" fmla="*/ 4872163 h 5288660"/>
              <a:gd name="connsiteX6" fmla="*/ 3505313 w 3505313"/>
              <a:gd name="connsiteY6" fmla="*/ 2498130 h 5288660"/>
              <a:gd name="connsiteX7" fmla="*/ 1113346 w 3505313"/>
              <a:gd name="connsiteY7" fmla="*/ 118187 h 5288660"/>
              <a:gd name="connsiteX8" fmla="*/ 749476 w 3505313"/>
              <a:gd name="connsiteY8" fmla="*/ 4526 h 5288660"/>
              <a:gd name="connsiteX9" fmla="*/ 393603 w 3505313"/>
              <a:gd name="connsiteY9" fmla="*/ 145346 h 5288660"/>
              <a:gd name="connsiteX10" fmla="*/ 5110 w 3505313"/>
              <a:gd name="connsiteY10" fmla="*/ 531610 h 5288660"/>
              <a:gd name="connsiteX0" fmla="*/ 5110 w 3505313"/>
              <a:gd name="connsiteY0" fmla="*/ 531610 h 5000898"/>
              <a:gd name="connsiteX1" fmla="*/ 1969852 w 3505313"/>
              <a:gd name="connsiteY1" fmla="*/ 2502390 h 5000898"/>
              <a:gd name="connsiteX2" fmla="*/ 0 w 3505313"/>
              <a:gd name="connsiteY2" fmla="*/ 4481321 h 5000898"/>
              <a:gd name="connsiteX3" fmla="*/ 427023 w 3505313"/>
              <a:gd name="connsiteY3" fmla="*/ 4894881 h 5000898"/>
              <a:gd name="connsiteX4" fmla="*/ 767793 w 3505313"/>
              <a:gd name="connsiteY4" fmla="*/ 4997112 h 5000898"/>
              <a:gd name="connsiteX5" fmla="*/ 1131281 w 3505313"/>
              <a:gd name="connsiteY5" fmla="*/ 4872163 h 5000898"/>
              <a:gd name="connsiteX6" fmla="*/ 3505313 w 3505313"/>
              <a:gd name="connsiteY6" fmla="*/ 2498130 h 5000898"/>
              <a:gd name="connsiteX7" fmla="*/ 1113346 w 3505313"/>
              <a:gd name="connsiteY7" fmla="*/ 118187 h 5000898"/>
              <a:gd name="connsiteX8" fmla="*/ 749476 w 3505313"/>
              <a:gd name="connsiteY8" fmla="*/ 4526 h 5000898"/>
              <a:gd name="connsiteX9" fmla="*/ 393603 w 3505313"/>
              <a:gd name="connsiteY9" fmla="*/ 145346 h 5000898"/>
              <a:gd name="connsiteX10" fmla="*/ 5110 w 3505313"/>
              <a:gd name="connsiteY10" fmla="*/ 531610 h 5000898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29652 h 5005303"/>
              <a:gd name="connsiteX1" fmla="*/ 1969852 w 3505313"/>
              <a:gd name="connsiteY1" fmla="*/ 2500432 h 5005303"/>
              <a:gd name="connsiteX2" fmla="*/ 0 w 3505313"/>
              <a:gd name="connsiteY2" fmla="*/ 4479363 h 5005303"/>
              <a:gd name="connsiteX3" fmla="*/ 427023 w 3505313"/>
              <a:gd name="connsiteY3" fmla="*/ 4892923 h 5005303"/>
              <a:gd name="connsiteX4" fmla="*/ 787503 w 3505313"/>
              <a:gd name="connsiteY4" fmla="*/ 5001517 h 5005303"/>
              <a:gd name="connsiteX5" fmla="*/ 1131281 w 3505313"/>
              <a:gd name="connsiteY5" fmla="*/ 4870205 h 5005303"/>
              <a:gd name="connsiteX6" fmla="*/ 3505313 w 3505313"/>
              <a:gd name="connsiteY6" fmla="*/ 2496172 h 5005303"/>
              <a:gd name="connsiteX7" fmla="*/ 1160106 w 3505313"/>
              <a:gd name="connsiteY7" fmla="*/ 158794 h 5005303"/>
              <a:gd name="connsiteX8" fmla="*/ 749476 w 3505313"/>
              <a:gd name="connsiteY8" fmla="*/ 2568 h 5005303"/>
              <a:gd name="connsiteX9" fmla="*/ 393603 w 3505313"/>
              <a:gd name="connsiteY9" fmla="*/ 143388 h 5005303"/>
              <a:gd name="connsiteX10" fmla="*/ 5110 w 3505313"/>
              <a:gd name="connsiteY10" fmla="*/ 529652 h 5005303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416 h 5008067"/>
              <a:gd name="connsiteX1" fmla="*/ 1969852 w 3505313"/>
              <a:gd name="connsiteY1" fmla="*/ 2503196 h 5008067"/>
              <a:gd name="connsiteX2" fmla="*/ 0 w 3505313"/>
              <a:gd name="connsiteY2" fmla="*/ 4482127 h 5008067"/>
              <a:gd name="connsiteX3" fmla="*/ 427023 w 3505313"/>
              <a:gd name="connsiteY3" fmla="*/ 4895687 h 5008067"/>
              <a:gd name="connsiteX4" fmla="*/ 787503 w 3505313"/>
              <a:gd name="connsiteY4" fmla="*/ 5004281 h 5008067"/>
              <a:gd name="connsiteX5" fmla="*/ 1131281 w 3505313"/>
              <a:gd name="connsiteY5" fmla="*/ 4872969 h 5008067"/>
              <a:gd name="connsiteX6" fmla="*/ 3505313 w 3505313"/>
              <a:gd name="connsiteY6" fmla="*/ 2498936 h 5008067"/>
              <a:gd name="connsiteX7" fmla="*/ 1160106 w 3505313"/>
              <a:gd name="connsiteY7" fmla="*/ 161558 h 5008067"/>
              <a:gd name="connsiteX8" fmla="*/ 796836 w 3505313"/>
              <a:gd name="connsiteY8" fmla="*/ 2318 h 5008067"/>
              <a:gd name="connsiteX9" fmla="*/ 393603 w 3505313"/>
              <a:gd name="connsiteY9" fmla="*/ 146152 h 5008067"/>
              <a:gd name="connsiteX10" fmla="*/ 5110 w 3505313"/>
              <a:gd name="connsiteY10" fmla="*/ 532416 h 500806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05313" h="5008317">
                <a:moveTo>
                  <a:pt x="5110" y="532666"/>
                </a:moveTo>
                <a:lnTo>
                  <a:pt x="1969852" y="2503446"/>
                </a:lnTo>
                <a:lnTo>
                  <a:pt x="0" y="4482377"/>
                </a:lnTo>
                <a:lnTo>
                  <a:pt x="427023" y="4895937"/>
                </a:lnTo>
                <a:cubicBezTo>
                  <a:pt x="510281" y="4969426"/>
                  <a:pt x="670127" y="5008317"/>
                  <a:pt x="787503" y="5004531"/>
                </a:cubicBezTo>
                <a:cubicBezTo>
                  <a:pt x="904879" y="5000745"/>
                  <a:pt x="1004011" y="4978861"/>
                  <a:pt x="1131281" y="4873219"/>
                </a:cubicBezTo>
                <a:lnTo>
                  <a:pt x="3505313" y="2499186"/>
                </a:lnTo>
                <a:lnTo>
                  <a:pt x="1160106" y="161808"/>
                </a:lnTo>
                <a:cubicBezTo>
                  <a:pt x="1068649" y="89635"/>
                  <a:pt x="968345" y="5136"/>
                  <a:pt x="796836" y="2568"/>
                </a:cubicBezTo>
                <a:cubicBezTo>
                  <a:pt x="625327" y="0"/>
                  <a:pt x="475789" y="68559"/>
                  <a:pt x="393603" y="146402"/>
                </a:cubicBezTo>
                <a:lnTo>
                  <a:pt x="5110" y="532666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Picture 1" descr="BlackLogo.png">
            <a:extLst>
              <a:ext uri="{FF2B5EF4-FFF2-40B4-BE49-F238E27FC236}">
                <a16:creationId xmlns:a16="http://schemas.microsoft.com/office/drawing/2014/main" id="{A2B0B603-BF15-2B0E-86CA-114217CB8A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52645" y="196036"/>
            <a:ext cx="994827" cy="250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5451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gn_Off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2449748" y="2398890"/>
            <a:ext cx="4244504" cy="519253"/>
          </a:xfrm>
        </p:spPr>
        <p:txBody>
          <a:bodyPr wrap="square" anchor="b">
            <a:spAutoFit/>
          </a:bodyPr>
          <a:lstStyle>
            <a:lvl1pPr algn="ctr">
              <a:lnSpc>
                <a:spcPct val="90000"/>
              </a:lnSpc>
              <a:defRPr sz="3749" b="1" spc="-22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Make it happen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48DFB490-311A-151A-F6B0-BBC45E65BEBF}"/>
              </a:ext>
            </a:extLst>
          </p:cNvPr>
          <p:cNvSpPr/>
          <p:nvPr userDrawn="1"/>
        </p:nvSpPr>
        <p:spPr>
          <a:xfrm flipH="1">
            <a:off x="6965840" y="1858213"/>
            <a:ext cx="1251060" cy="1787537"/>
          </a:xfrm>
          <a:custGeom>
            <a:avLst/>
            <a:gdLst>
              <a:gd name="connsiteX0" fmla="*/ 0 w 3498574"/>
              <a:gd name="connsiteY0" fmla="*/ 533873 h 5009322"/>
              <a:gd name="connsiteX1" fmla="*/ 1965108 w 3498574"/>
              <a:gd name="connsiteY1" fmla="*/ 2498981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53550 w 3498574"/>
              <a:gd name="connsiteY1" fmla="*/ 2482688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41992 w 3498574"/>
              <a:gd name="connsiteY1" fmla="*/ 2497200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465050 w 3509263"/>
              <a:gd name="connsiteY9" fmla="*/ 102231 h 5009322"/>
              <a:gd name="connsiteX10" fmla="*/ 0 w 3509263"/>
              <a:gd name="connsiteY10" fmla="*/ 538314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397553 w 3509263"/>
              <a:gd name="connsiteY9" fmla="*/ 157556 h 5009322"/>
              <a:gd name="connsiteX10" fmla="*/ 0 w 3509263"/>
              <a:gd name="connsiteY10" fmla="*/ 538314 h 5009322"/>
              <a:gd name="connsiteX0" fmla="*/ 0 w 3509263"/>
              <a:gd name="connsiteY0" fmla="*/ 865832 h 5336840"/>
              <a:gd name="connsiteX1" fmla="*/ 1952681 w 3509263"/>
              <a:gd name="connsiteY1" fmla="*/ 2824718 h 5336840"/>
              <a:gd name="connsiteX2" fmla="*/ 10689 w 3509263"/>
              <a:gd name="connsiteY2" fmla="*/ 4791607 h 5336840"/>
              <a:gd name="connsiteX3" fmla="*/ 430973 w 3509263"/>
              <a:gd name="connsiteY3" fmla="*/ 5234609 h 5336840"/>
              <a:gd name="connsiteX4" fmla="*/ 771743 w 3509263"/>
              <a:gd name="connsiteY4" fmla="*/ 5336840 h 5336840"/>
              <a:gd name="connsiteX5" fmla="*/ 1135231 w 3509263"/>
              <a:gd name="connsiteY5" fmla="*/ 5211891 h 5336840"/>
              <a:gd name="connsiteX6" fmla="*/ 3509263 w 3509263"/>
              <a:gd name="connsiteY6" fmla="*/ 2837858 h 5336840"/>
              <a:gd name="connsiteX7" fmla="*/ 1078436 w 3509263"/>
              <a:gd name="connsiteY7" fmla="*/ 418390 h 5336840"/>
              <a:gd name="connsiteX8" fmla="*/ 737666 w 3509263"/>
              <a:gd name="connsiteY8" fmla="*/ 327518 h 5336840"/>
              <a:gd name="connsiteX9" fmla="*/ 397553 w 3509263"/>
              <a:gd name="connsiteY9" fmla="*/ 485074 h 5336840"/>
              <a:gd name="connsiteX10" fmla="*/ 0 w 3509263"/>
              <a:gd name="connsiteY10" fmla="*/ 865832 h 5336840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2840 h 5013848"/>
              <a:gd name="connsiteX1" fmla="*/ 1952681 w 3509263"/>
              <a:gd name="connsiteY1" fmla="*/ 2501726 h 5013848"/>
              <a:gd name="connsiteX2" fmla="*/ 10689 w 3509263"/>
              <a:gd name="connsiteY2" fmla="*/ 4468615 h 5013848"/>
              <a:gd name="connsiteX3" fmla="*/ 430973 w 3509263"/>
              <a:gd name="connsiteY3" fmla="*/ 4911617 h 5013848"/>
              <a:gd name="connsiteX4" fmla="*/ 771743 w 3509263"/>
              <a:gd name="connsiteY4" fmla="*/ 5013848 h 5013848"/>
              <a:gd name="connsiteX5" fmla="*/ 1135231 w 3509263"/>
              <a:gd name="connsiteY5" fmla="*/ 4888899 h 5013848"/>
              <a:gd name="connsiteX6" fmla="*/ 3509263 w 3509263"/>
              <a:gd name="connsiteY6" fmla="*/ 2514866 h 5013848"/>
              <a:gd name="connsiteX7" fmla="*/ 1117296 w 3509263"/>
              <a:gd name="connsiteY7" fmla="*/ 134923 h 5013848"/>
              <a:gd name="connsiteX8" fmla="*/ 737666 w 3509263"/>
              <a:gd name="connsiteY8" fmla="*/ 4526 h 5013848"/>
              <a:gd name="connsiteX9" fmla="*/ 397553 w 3509263"/>
              <a:gd name="connsiteY9" fmla="*/ 162082 h 5013848"/>
              <a:gd name="connsiteX10" fmla="*/ 0 w 3509263"/>
              <a:gd name="connsiteY10" fmla="*/ 542840 h 5013848"/>
              <a:gd name="connsiteX0" fmla="*/ 0 w 3509263"/>
              <a:gd name="connsiteY0" fmla="*/ 526104 h 4997112"/>
              <a:gd name="connsiteX1" fmla="*/ 1952681 w 3509263"/>
              <a:gd name="connsiteY1" fmla="*/ 2484990 h 4997112"/>
              <a:gd name="connsiteX2" fmla="*/ 10689 w 3509263"/>
              <a:gd name="connsiteY2" fmla="*/ 4451879 h 4997112"/>
              <a:gd name="connsiteX3" fmla="*/ 430973 w 3509263"/>
              <a:gd name="connsiteY3" fmla="*/ 4894881 h 4997112"/>
              <a:gd name="connsiteX4" fmla="*/ 771743 w 3509263"/>
              <a:gd name="connsiteY4" fmla="*/ 4997112 h 4997112"/>
              <a:gd name="connsiteX5" fmla="*/ 1135231 w 3509263"/>
              <a:gd name="connsiteY5" fmla="*/ 4872163 h 4997112"/>
              <a:gd name="connsiteX6" fmla="*/ 3509263 w 3509263"/>
              <a:gd name="connsiteY6" fmla="*/ 2498130 h 4997112"/>
              <a:gd name="connsiteX7" fmla="*/ 1117296 w 3509263"/>
              <a:gd name="connsiteY7" fmla="*/ 118187 h 4997112"/>
              <a:gd name="connsiteX8" fmla="*/ 753426 w 3509263"/>
              <a:gd name="connsiteY8" fmla="*/ 4526 h 4997112"/>
              <a:gd name="connsiteX9" fmla="*/ 397553 w 3509263"/>
              <a:gd name="connsiteY9" fmla="*/ 145346 h 4997112"/>
              <a:gd name="connsiteX10" fmla="*/ 0 w 3509263"/>
              <a:gd name="connsiteY10" fmla="*/ 526104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64742 w 3500203"/>
              <a:gd name="connsiteY1" fmla="*/ 25023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5110 w 3505313"/>
              <a:gd name="connsiteY0" fmla="*/ 531610 h 4997112"/>
              <a:gd name="connsiteX1" fmla="*/ 1969852 w 3505313"/>
              <a:gd name="connsiteY1" fmla="*/ 2502390 h 4997112"/>
              <a:gd name="connsiteX2" fmla="*/ 0 w 3505313"/>
              <a:gd name="connsiteY2" fmla="*/ 4481321 h 4997112"/>
              <a:gd name="connsiteX3" fmla="*/ 427023 w 3505313"/>
              <a:gd name="connsiteY3" fmla="*/ 4894881 h 4997112"/>
              <a:gd name="connsiteX4" fmla="*/ 767793 w 3505313"/>
              <a:gd name="connsiteY4" fmla="*/ 4997112 h 4997112"/>
              <a:gd name="connsiteX5" fmla="*/ 1131281 w 3505313"/>
              <a:gd name="connsiteY5" fmla="*/ 4872163 h 4997112"/>
              <a:gd name="connsiteX6" fmla="*/ 3505313 w 3505313"/>
              <a:gd name="connsiteY6" fmla="*/ 2498130 h 4997112"/>
              <a:gd name="connsiteX7" fmla="*/ 1113346 w 3505313"/>
              <a:gd name="connsiteY7" fmla="*/ 118187 h 4997112"/>
              <a:gd name="connsiteX8" fmla="*/ 749476 w 3505313"/>
              <a:gd name="connsiteY8" fmla="*/ 4526 h 4997112"/>
              <a:gd name="connsiteX9" fmla="*/ 393603 w 3505313"/>
              <a:gd name="connsiteY9" fmla="*/ 145346 h 4997112"/>
              <a:gd name="connsiteX10" fmla="*/ 5110 w 3505313"/>
              <a:gd name="connsiteY10" fmla="*/ 531610 h 4997112"/>
              <a:gd name="connsiteX0" fmla="*/ 5110 w 3505313"/>
              <a:gd name="connsiteY0" fmla="*/ 531610 h 5288660"/>
              <a:gd name="connsiteX1" fmla="*/ 1969852 w 3505313"/>
              <a:gd name="connsiteY1" fmla="*/ 2502390 h 5288660"/>
              <a:gd name="connsiteX2" fmla="*/ 0 w 3505313"/>
              <a:gd name="connsiteY2" fmla="*/ 4481321 h 5288660"/>
              <a:gd name="connsiteX3" fmla="*/ 427023 w 3505313"/>
              <a:gd name="connsiteY3" fmla="*/ 4894881 h 5288660"/>
              <a:gd name="connsiteX4" fmla="*/ 767793 w 3505313"/>
              <a:gd name="connsiteY4" fmla="*/ 4997112 h 5288660"/>
              <a:gd name="connsiteX5" fmla="*/ 1131281 w 3505313"/>
              <a:gd name="connsiteY5" fmla="*/ 4872163 h 5288660"/>
              <a:gd name="connsiteX6" fmla="*/ 3505313 w 3505313"/>
              <a:gd name="connsiteY6" fmla="*/ 2498130 h 5288660"/>
              <a:gd name="connsiteX7" fmla="*/ 1113346 w 3505313"/>
              <a:gd name="connsiteY7" fmla="*/ 118187 h 5288660"/>
              <a:gd name="connsiteX8" fmla="*/ 749476 w 3505313"/>
              <a:gd name="connsiteY8" fmla="*/ 4526 h 5288660"/>
              <a:gd name="connsiteX9" fmla="*/ 393603 w 3505313"/>
              <a:gd name="connsiteY9" fmla="*/ 145346 h 5288660"/>
              <a:gd name="connsiteX10" fmla="*/ 5110 w 3505313"/>
              <a:gd name="connsiteY10" fmla="*/ 531610 h 5288660"/>
              <a:gd name="connsiteX0" fmla="*/ 5110 w 3505313"/>
              <a:gd name="connsiteY0" fmla="*/ 531610 h 5000898"/>
              <a:gd name="connsiteX1" fmla="*/ 1969852 w 3505313"/>
              <a:gd name="connsiteY1" fmla="*/ 2502390 h 5000898"/>
              <a:gd name="connsiteX2" fmla="*/ 0 w 3505313"/>
              <a:gd name="connsiteY2" fmla="*/ 4481321 h 5000898"/>
              <a:gd name="connsiteX3" fmla="*/ 427023 w 3505313"/>
              <a:gd name="connsiteY3" fmla="*/ 4894881 h 5000898"/>
              <a:gd name="connsiteX4" fmla="*/ 767793 w 3505313"/>
              <a:gd name="connsiteY4" fmla="*/ 4997112 h 5000898"/>
              <a:gd name="connsiteX5" fmla="*/ 1131281 w 3505313"/>
              <a:gd name="connsiteY5" fmla="*/ 4872163 h 5000898"/>
              <a:gd name="connsiteX6" fmla="*/ 3505313 w 3505313"/>
              <a:gd name="connsiteY6" fmla="*/ 2498130 h 5000898"/>
              <a:gd name="connsiteX7" fmla="*/ 1113346 w 3505313"/>
              <a:gd name="connsiteY7" fmla="*/ 118187 h 5000898"/>
              <a:gd name="connsiteX8" fmla="*/ 749476 w 3505313"/>
              <a:gd name="connsiteY8" fmla="*/ 4526 h 5000898"/>
              <a:gd name="connsiteX9" fmla="*/ 393603 w 3505313"/>
              <a:gd name="connsiteY9" fmla="*/ 145346 h 5000898"/>
              <a:gd name="connsiteX10" fmla="*/ 5110 w 3505313"/>
              <a:gd name="connsiteY10" fmla="*/ 531610 h 5000898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29652 h 5005303"/>
              <a:gd name="connsiteX1" fmla="*/ 1969852 w 3505313"/>
              <a:gd name="connsiteY1" fmla="*/ 2500432 h 5005303"/>
              <a:gd name="connsiteX2" fmla="*/ 0 w 3505313"/>
              <a:gd name="connsiteY2" fmla="*/ 4479363 h 5005303"/>
              <a:gd name="connsiteX3" fmla="*/ 427023 w 3505313"/>
              <a:gd name="connsiteY3" fmla="*/ 4892923 h 5005303"/>
              <a:gd name="connsiteX4" fmla="*/ 787503 w 3505313"/>
              <a:gd name="connsiteY4" fmla="*/ 5001517 h 5005303"/>
              <a:gd name="connsiteX5" fmla="*/ 1131281 w 3505313"/>
              <a:gd name="connsiteY5" fmla="*/ 4870205 h 5005303"/>
              <a:gd name="connsiteX6" fmla="*/ 3505313 w 3505313"/>
              <a:gd name="connsiteY6" fmla="*/ 2496172 h 5005303"/>
              <a:gd name="connsiteX7" fmla="*/ 1160106 w 3505313"/>
              <a:gd name="connsiteY7" fmla="*/ 158794 h 5005303"/>
              <a:gd name="connsiteX8" fmla="*/ 749476 w 3505313"/>
              <a:gd name="connsiteY8" fmla="*/ 2568 h 5005303"/>
              <a:gd name="connsiteX9" fmla="*/ 393603 w 3505313"/>
              <a:gd name="connsiteY9" fmla="*/ 143388 h 5005303"/>
              <a:gd name="connsiteX10" fmla="*/ 5110 w 3505313"/>
              <a:gd name="connsiteY10" fmla="*/ 529652 h 5005303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416 h 5008067"/>
              <a:gd name="connsiteX1" fmla="*/ 1969852 w 3505313"/>
              <a:gd name="connsiteY1" fmla="*/ 2503196 h 5008067"/>
              <a:gd name="connsiteX2" fmla="*/ 0 w 3505313"/>
              <a:gd name="connsiteY2" fmla="*/ 4482127 h 5008067"/>
              <a:gd name="connsiteX3" fmla="*/ 427023 w 3505313"/>
              <a:gd name="connsiteY3" fmla="*/ 4895687 h 5008067"/>
              <a:gd name="connsiteX4" fmla="*/ 787503 w 3505313"/>
              <a:gd name="connsiteY4" fmla="*/ 5004281 h 5008067"/>
              <a:gd name="connsiteX5" fmla="*/ 1131281 w 3505313"/>
              <a:gd name="connsiteY5" fmla="*/ 4872969 h 5008067"/>
              <a:gd name="connsiteX6" fmla="*/ 3505313 w 3505313"/>
              <a:gd name="connsiteY6" fmla="*/ 2498936 h 5008067"/>
              <a:gd name="connsiteX7" fmla="*/ 1160106 w 3505313"/>
              <a:gd name="connsiteY7" fmla="*/ 161558 h 5008067"/>
              <a:gd name="connsiteX8" fmla="*/ 796836 w 3505313"/>
              <a:gd name="connsiteY8" fmla="*/ 2318 h 5008067"/>
              <a:gd name="connsiteX9" fmla="*/ 393603 w 3505313"/>
              <a:gd name="connsiteY9" fmla="*/ 146152 h 5008067"/>
              <a:gd name="connsiteX10" fmla="*/ 5110 w 3505313"/>
              <a:gd name="connsiteY10" fmla="*/ 532416 h 500806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05313" h="5008317">
                <a:moveTo>
                  <a:pt x="5110" y="532666"/>
                </a:moveTo>
                <a:lnTo>
                  <a:pt x="1969852" y="2503446"/>
                </a:lnTo>
                <a:lnTo>
                  <a:pt x="0" y="4482377"/>
                </a:lnTo>
                <a:lnTo>
                  <a:pt x="427023" y="4895937"/>
                </a:lnTo>
                <a:cubicBezTo>
                  <a:pt x="510281" y="4969426"/>
                  <a:pt x="670127" y="5008317"/>
                  <a:pt x="787503" y="5004531"/>
                </a:cubicBezTo>
                <a:cubicBezTo>
                  <a:pt x="904879" y="5000745"/>
                  <a:pt x="1004011" y="4978861"/>
                  <a:pt x="1131281" y="4873219"/>
                </a:cubicBezTo>
                <a:lnTo>
                  <a:pt x="3505313" y="2499186"/>
                </a:lnTo>
                <a:lnTo>
                  <a:pt x="1160106" y="161808"/>
                </a:lnTo>
                <a:cubicBezTo>
                  <a:pt x="1068649" y="89635"/>
                  <a:pt x="968345" y="5136"/>
                  <a:pt x="796836" y="2568"/>
                </a:cubicBezTo>
                <a:cubicBezTo>
                  <a:pt x="625327" y="0"/>
                  <a:pt x="475789" y="68559"/>
                  <a:pt x="393603" y="146402"/>
                </a:cubicBezTo>
                <a:lnTo>
                  <a:pt x="5110" y="532666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172933B2-1A60-AF63-01E1-DF0F92A02685}"/>
              </a:ext>
            </a:extLst>
          </p:cNvPr>
          <p:cNvSpPr/>
          <p:nvPr userDrawn="1"/>
        </p:nvSpPr>
        <p:spPr>
          <a:xfrm rot="10800000" flipH="1">
            <a:off x="927100" y="1858213"/>
            <a:ext cx="1251060" cy="1787537"/>
          </a:xfrm>
          <a:custGeom>
            <a:avLst/>
            <a:gdLst>
              <a:gd name="connsiteX0" fmla="*/ 0 w 3498574"/>
              <a:gd name="connsiteY0" fmla="*/ 533873 h 5009322"/>
              <a:gd name="connsiteX1" fmla="*/ 1965108 w 3498574"/>
              <a:gd name="connsiteY1" fmla="*/ 2498981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53550 w 3498574"/>
              <a:gd name="connsiteY1" fmla="*/ 2482688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41992 w 3498574"/>
              <a:gd name="connsiteY1" fmla="*/ 2497200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465050 w 3509263"/>
              <a:gd name="connsiteY9" fmla="*/ 102231 h 5009322"/>
              <a:gd name="connsiteX10" fmla="*/ 0 w 3509263"/>
              <a:gd name="connsiteY10" fmla="*/ 538314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397553 w 3509263"/>
              <a:gd name="connsiteY9" fmla="*/ 157556 h 5009322"/>
              <a:gd name="connsiteX10" fmla="*/ 0 w 3509263"/>
              <a:gd name="connsiteY10" fmla="*/ 538314 h 5009322"/>
              <a:gd name="connsiteX0" fmla="*/ 0 w 3509263"/>
              <a:gd name="connsiteY0" fmla="*/ 865832 h 5336840"/>
              <a:gd name="connsiteX1" fmla="*/ 1952681 w 3509263"/>
              <a:gd name="connsiteY1" fmla="*/ 2824718 h 5336840"/>
              <a:gd name="connsiteX2" fmla="*/ 10689 w 3509263"/>
              <a:gd name="connsiteY2" fmla="*/ 4791607 h 5336840"/>
              <a:gd name="connsiteX3" fmla="*/ 430973 w 3509263"/>
              <a:gd name="connsiteY3" fmla="*/ 5234609 h 5336840"/>
              <a:gd name="connsiteX4" fmla="*/ 771743 w 3509263"/>
              <a:gd name="connsiteY4" fmla="*/ 5336840 h 5336840"/>
              <a:gd name="connsiteX5" fmla="*/ 1135231 w 3509263"/>
              <a:gd name="connsiteY5" fmla="*/ 5211891 h 5336840"/>
              <a:gd name="connsiteX6" fmla="*/ 3509263 w 3509263"/>
              <a:gd name="connsiteY6" fmla="*/ 2837858 h 5336840"/>
              <a:gd name="connsiteX7" fmla="*/ 1078436 w 3509263"/>
              <a:gd name="connsiteY7" fmla="*/ 418390 h 5336840"/>
              <a:gd name="connsiteX8" fmla="*/ 737666 w 3509263"/>
              <a:gd name="connsiteY8" fmla="*/ 327518 h 5336840"/>
              <a:gd name="connsiteX9" fmla="*/ 397553 w 3509263"/>
              <a:gd name="connsiteY9" fmla="*/ 485074 h 5336840"/>
              <a:gd name="connsiteX10" fmla="*/ 0 w 3509263"/>
              <a:gd name="connsiteY10" fmla="*/ 865832 h 5336840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2840 h 5013848"/>
              <a:gd name="connsiteX1" fmla="*/ 1952681 w 3509263"/>
              <a:gd name="connsiteY1" fmla="*/ 2501726 h 5013848"/>
              <a:gd name="connsiteX2" fmla="*/ 10689 w 3509263"/>
              <a:gd name="connsiteY2" fmla="*/ 4468615 h 5013848"/>
              <a:gd name="connsiteX3" fmla="*/ 430973 w 3509263"/>
              <a:gd name="connsiteY3" fmla="*/ 4911617 h 5013848"/>
              <a:gd name="connsiteX4" fmla="*/ 771743 w 3509263"/>
              <a:gd name="connsiteY4" fmla="*/ 5013848 h 5013848"/>
              <a:gd name="connsiteX5" fmla="*/ 1135231 w 3509263"/>
              <a:gd name="connsiteY5" fmla="*/ 4888899 h 5013848"/>
              <a:gd name="connsiteX6" fmla="*/ 3509263 w 3509263"/>
              <a:gd name="connsiteY6" fmla="*/ 2514866 h 5013848"/>
              <a:gd name="connsiteX7" fmla="*/ 1117296 w 3509263"/>
              <a:gd name="connsiteY7" fmla="*/ 134923 h 5013848"/>
              <a:gd name="connsiteX8" fmla="*/ 737666 w 3509263"/>
              <a:gd name="connsiteY8" fmla="*/ 4526 h 5013848"/>
              <a:gd name="connsiteX9" fmla="*/ 397553 w 3509263"/>
              <a:gd name="connsiteY9" fmla="*/ 162082 h 5013848"/>
              <a:gd name="connsiteX10" fmla="*/ 0 w 3509263"/>
              <a:gd name="connsiteY10" fmla="*/ 542840 h 5013848"/>
              <a:gd name="connsiteX0" fmla="*/ 0 w 3509263"/>
              <a:gd name="connsiteY0" fmla="*/ 526104 h 4997112"/>
              <a:gd name="connsiteX1" fmla="*/ 1952681 w 3509263"/>
              <a:gd name="connsiteY1" fmla="*/ 2484990 h 4997112"/>
              <a:gd name="connsiteX2" fmla="*/ 10689 w 3509263"/>
              <a:gd name="connsiteY2" fmla="*/ 4451879 h 4997112"/>
              <a:gd name="connsiteX3" fmla="*/ 430973 w 3509263"/>
              <a:gd name="connsiteY3" fmla="*/ 4894881 h 4997112"/>
              <a:gd name="connsiteX4" fmla="*/ 771743 w 3509263"/>
              <a:gd name="connsiteY4" fmla="*/ 4997112 h 4997112"/>
              <a:gd name="connsiteX5" fmla="*/ 1135231 w 3509263"/>
              <a:gd name="connsiteY5" fmla="*/ 4872163 h 4997112"/>
              <a:gd name="connsiteX6" fmla="*/ 3509263 w 3509263"/>
              <a:gd name="connsiteY6" fmla="*/ 2498130 h 4997112"/>
              <a:gd name="connsiteX7" fmla="*/ 1117296 w 3509263"/>
              <a:gd name="connsiteY7" fmla="*/ 118187 h 4997112"/>
              <a:gd name="connsiteX8" fmla="*/ 753426 w 3509263"/>
              <a:gd name="connsiteY8" fmla="*/ 4526 h 4997112"/>
              <a:gd name="connsiteX9" fmla="*/ 397553 w 3509263"/>
              <a:gd name="connsiteY9" fmla="*/ 145346 h 4997112"/>
              <a:gd name="connsiteX10" fmla="*/ 0 w 3509263"/>
              <a:gd name="connsiteY10" fmla="*/ 526104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64742 w 3500203"/>
              <a:gd name="connsiteY1" fmla="*/ 25023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5110 w 3505313"/>
              <a:gd name="connsiteY0" fmla="*/ 531610 h 4997112"/>
              <a:gd name="connsiteX1" fmla="*/ 1969852 w 3505313"/>
              <a:gd name="connsiteY1" fmla="*/ 2502390 h 4997112"/>
              <a:gd name="connsiteX2" fmla="*/ 0 w 3505313"/>
              <a:gd name="connsiteY2" fmla="*/ 4481321 h 4997112"/>
              <a:gd name="connsiteX3" fmla="*/ 427023 w 3505313"/>
              <a:gd name="connsiteY3" fmla="*/ 4894881 h 4997112"/>
              <a:gd name="connsiteX4" fmla="*/ 767793 w 3505313"/>
              <a:gd name="connsiteY4" fmla="*/ 4997112 h 4997112"/>
              <a:gd name="connsiteX5" fmla="*/ 1131281 w 3505313"/>
              <a:gd name="connsiteY5" fmla="*/ 4872163 h 4997112"/>
              <a:gd name="connsiteX6" fmla="*/ 3505313 w 3505313"/>
              <a:gd name="connsiteY6" fmla="*/ 2498130 h 4997112"/>
              <a:gd name="connsiteX7" fmla="*/ 1113346 w 3505313"/>
              <a:gd name="connsiteY7" fmla="*/ 118187 h 4997112"/>
              <a:gd name="connsiteX8" fmla="*/ 749476 w 3505313"/>
              <a:gd name="connsiteY8" fmla="*/ 4526 h 4997112"/>
              <a:gd name="connsiteX9" fmla="*/ 393603 w 3505313"/>
              <a:gd name="connsiteY9" fmla="*/ 145346 h 4997112"/>
              <a:gd name="connsiteX10" fmla="*/ 5110 w 3505313"/>
              <a:gd name="connsiteY10" fmla="*/ 531610 h 4997112"/>
              <a:gd name="connsiteX0" fmla="*/ 5110 w 3505313"/>
              <a:gd name="connsiteY0" fmla="*/ 531610 h 5288660"/>
              <a:gd name="connsiteX1" fmla="*/ 1969852 w 3505313"/>
              <a:gd name="connsiteY1" fmla="*/ 2502390 h 5288660"/>
              <a:gd name="connsiteX2" fmla="*/ 0 w 3505313"/>
              <a:gd name="connsiteY2" fmla="*/ 4481321 h 5288660"/>
              <a:gd name="connsiteX3" fmla="*/ 427023 w 3505313"/>
              <a:gd name="connsiteY3" fmla="*/ 4894881 h 5288660"/>
              <a:gd name="connsiteX4" fmla="*/ 767793 w 3505313"/>
              <a:gd name="connsiteY4" fmla="*/ 4997112 h 5288660"/>
              <a:gd name="connsiteX5" fmla="*/ 1131281 w 3505313"/>
              <a:gd name="connsiteY5" fmla="*/ 4872163 h 5288660"/>
              <a:gd name="connsiteX6" fmla="*/ 3505313 w 3505313"/>
              <a:gd name="connsiteY6" fmla="*/ 2498130 h 5288660"/>
              <a:gd name="connsiteX7" fmla="*/ 1113346 w 3505313"/>
              <a:gd name="connsiteY7" fmla="*/ 118187 h 5288660"/>
              <a:gd name="connsiteX8" fmla="*/ 749476 w 3505313"/>
              <a:gd name="connsiteY8" fmla="*/ 4526 h 5288660"/>
              <a:gd name="connsiteX9" fmla="*/ 393603 w 3505313"/>
              <a:gd name="connsiteY9" fmla="*/ 145346 h 5288660"/>
              <a:gd name="connsiteX10" fmla="*/ 5110 w 3505313"/>
              <a:gd name="connsiteY10" fmla="*/ 531610 h 5288660"/>
              <a:gd name="connsiteX0" fmla="*/ 5110 w 3505313"/>
              <a:gd name="connsiteY0" fmla="*/ 531610 h 5000898"/>
              <a:gd name="connsiteX1" fmla="*/ 1969852 w 3505313"/>
              <a:gd name="connsiteY1" fmla="*/ 2502390 h 5000898"/>
              <a:gd name="connsiteX2" fmla="*/ 0 w 3505313"/>
              <a:gd name="connsiteY2" fmla="*/ 4481321 h 5000898"/>
              <a:gd name="connsiteX3" fmla="*/ 427023 w 3505313"/>
              <a:gd name="connsiteY3" fmla="*/ 4894881 h 5000898"/>
              <a:gd name="connsiteX4" fmla="*/ 767793 w 3505313"/>
              <a:gd name="connsiteY4" fmla="*/ 4997112 h 5000898"/>
              <a:gd name="connsiteX5" fmla="*/ 1131281 w 3505313"/>
              <a:gd name="connsiteY5" fmla="*/ 4872163 h 5000898"/>
              <a:gd name="connsiteX6" fmla="*/ 3505313 w 3505313"/>
              <a:gd name="connsiteY6" fmla="*/ 2498130 h 5000898"/>
              <a:gd name="connsiteX7" fmla="*/ 1113346 w 3505313"/>
              <a:gd name="connsiteY7" fmla="*/ 118187 h 5000898"/>
              <a:gd name="connsiteX8" fmla="*/ 749476 w 3505313"/>
              <a:gd name="connsiteY8" fmla="*/ 4526 h 5000898"/>
              <a:gd name="connsiteX9" fmla="*/ 393603 w 3505313"/>
              <a:gd name="connsiteY9" fmla="*/ 145346 h 5000898"/>
              <a:gd name="connsiteX10" fmla="*/ 5110 w 3505313"/>
              <a:gd name="connsiteY10" fmla="*/ 531610 h 5000898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29652 h 5005303"/>
              <a:gd name="connsiteX1" fmla="*/ 1969852 w 3505313"/>
              <a:gd name="connsiteY1" fmla="*/ 2500432 h 5005303"/>
              <a:gd name="connsiteX2" fmla="*/ 0 w 3505313"/>
              <a:gd name="connsiteY2" fmla="*/ 4479363 h 5005303"/>
              <a:gd name="connsiteX3" fmla="*/ 427023 w 3505313"/>
              <a:gd name="connsiteY3" fmla="*/ 4892923 h 5005303"/>
              <a:gd name="connsiteX4" fmla="*/ 787503 w 3505313"/>
              <a:gd name="connsiteY4" fmla="*/ 5001517 h 5005303"/>
              <a:gd name="connsiteX5" fmla="*/ 1131281 w 3505313"/>
              <a:gd name="connsiteY5" fmla="*/ 4870205 h 5005303"/>
              <a:gd name="connsiteX6" fmla="*/ 3505313 w 3505313"/>
              <a:gd name="connsiteY6" fmla="*/ 2496172 h 5005303"/>
              <a:gd name="connsiteX7" fmla="*/ 1160106 w 3505313"/>
              <a:gd name="connsiteY7" fmla="*/ 158794 h 5005303"/>
              <a:gd name="connsiteX8" fmla="*/ 749476 w 3505313"/>
              <a:gd name="connsiteY8" fmla="*/ 2568 h 5005303"/>
              <a:gd name="connsiteX9" fmla="*/ 393603 w 3505313"/>
              <a:gd name="connsiteY9" fmla="*/ 143388 h 5005303"/>
              <a:gd name="connsiteX10" fmla="*/ 5110 w 3505313"/>
              <a:gd name="connsiteY10" fmla="*/ 529652 h 5005303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416 h 5008067"/>
              <a:gd name="connsiteX1" fmla="*/ 1969852 w 3505313"/>
              <a:gd name="connsiteY1" fmla="*/ 2503196 h 5008067"/>
              <a:gd name="connsiteX2" fmla="*/ 0 w 3505313"/>
              <a:gd name="connsiteY2" fmla="*/ 4482127 h 5008067"/>
              <a:gd name="connsiteX3" fmla="*/ 427023 w 3505313"/>
              <a:gd name="connsiteY3" fmla="*/ 4895687 h 5008067"/>
              <a:gd name="connsiteX4" fmla="*/ 787503 w 3505313"/>
              <a:gd name="connsiteY4" fmla="*/ 5004281 h 5008067"/>
              <a:gd name="connsiteX5" fmla="*/ 1131281 w 3505313"/>
              <a:gd name="connsiteY5" fmla="*/ 4872969 h 5008067"/>
              <a:gd name="connsiteX6" fmla="*/ 3505313 w 3505313"/>
              <a:gd name="connsiteY6" fmla="*/ 2498936 h 5008067"/>
              <a:gd name="connsiteX7" fmla="*/ 1160106 w 3505313"/>
              <a:gd name="connsiteY7" fmla="*/ 161558 h 5008067"/>
              <a:gd name="connsiteX8" fmla="*/ 796836 w 3505313"/>
              <a:gd name="connsiteY8" fmla="*/ 2318 h 5008067"/>
              <a:gd name="connsiteX9" fmla="*/ 393603 w 3505313"/>
              <a:gd name="connsiteY9" fmla="*/ 146152 h 5008067"/>
              <a:gd name="connsiteX10" fmla="*/ 5110 w 3505313"/>
              <a:gd name="connsiteY10" fmla="*/ 532416 h 500806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05313" h="5008317">
                <a:moveTo>
                  <a:pt x="5110" y="532666"/>
                </a:moveTo>
                <a:lnTo>
                  <a:pt x="1969852" y="2503446"/>
                </a:lnTo>
                <a:lnTo>
                  <a:pt x="0" y="4482377"/>
                </a:lnTo>
                <a:lnTo>
                  <a:pt x="427023" y="4895937"/>
                </a:lnTo>
                <a:cubicBezTo>
                  <a:pt x="510281" y="4969426"/>
                  <a:pt x="670127" y="5008317"/>
                  <a:pt x="787503" y="5004531"/>
                </a:cubicBezTo>
                <a:cubicBezTo>
                  <a:pt x="904879" y="5000745"/>
                  <a:pt x="1004011" y="4978861"/>
                  <a:pt x="1131281" y="4873219"/>
                </a:cubicBezTo>
                <a:lnTo>
                  <a:pt x="3505313" y="2499186"/>
                </a:lnTo>
                <a:lnTo>
                  <a:pt x="1160106" y="161808"/>
                </a:lnTo>
                <a:cubicBezTo>
                  <a:pt x="1068649" y="89635"/>
                  <a:pt x="968345" y="5136"/>
                  <a:pt x="796836" y="2568"/>
                </a:cubicBezTo>
                <a:cubicBezTo>
                  <a:pt x="625327" y="0"/>
                  <a:pt x="475789" y="68559"/>
                  <a:pt x="393603" y="146402"/>
                </a:cubicBezTo>
                <a:lnTo>
                  <a:pt x="5110" y="532666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2">
            <a:extLst>
              <a:ext uri="{FF2B5EF4-FFF2-40B4-BE49-F238E27FC236}">
                <a16:creationId xmlns:a16="http://schemas.microsoft.com/office/drawing/2014/main" id="{0FDE86B1-5888-5407-16A9-2F5D7C224326}"/>
              </a:ext>
            </a:extLst>
          </p:cNvPr>
          <p:cNvSpPr txBox="1">
            <a:spLocks/>
          </p:cNvSpPr>
          <p:nvPr userDrawn="1"/>
        </p:nvSpPr>
        <p:spPr bwMode="auto">
          <a:xfrm>
            <a:off x="2449748" y="1858165"/>
            <a:ext cx="4244504" cy="207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000" b="1" cap="none" spc="-3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5pPr>
            <a:lvl6pPr marL="544388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6pPr>
            <a:lvl7pPr marL="1088776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7pPr>
            <a:lvl8pPr marL="1633164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8pPr>
            <a:lvl9pPr marL="2177552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1500" b="0" kern="0">
                <a:latin typeface="+mj-lt"/>
              </a:rPr>
              <a:t>Let’s</a:t>
            </a:r>
          </a:p>
        </p:txBody>
      </p:sp>
      <p:pic>
        <p:nvPicPr>
          <p:cNvPr id="3" name="Picture 2" descr="BlackLogo.png">
            <a:extLst>
              <a:ext uri="{FF2B5EF4-FFF2-40B4-BE49-F238E27FC236}">
                <a16:creationId xmlns:a16="http://schemas.microsoft.com/office/drawing/2014/main" id="{9BE8CB6E-D62C-D7AD-9508-07D371A7B0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52645" y="196036"/>
            <a:ext cx="994827" cy="250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417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D4191450-4540-5AF1-D406-13125579A40E}"/>
              </a:ext>
            </a:extLst>
          </p:cNvPr>
          <p:cNvSpPr/>
          <p:nvPr userDrawn="1"/>
        </p:nvSpPr>
        <p:spPr>
          <a:xfrm>
            <a:off x="1" y="0"/>
            <a:ext cx="8710952" cy="5143500"/>
          </a:xfrm>
          <a:custGeom>
            <a:avLst/>
            <a:gdLst>
              <a:gd name="connsiteX0" fmla="*/ 0 w 11617627"/>
              <a:gd name="connsiteY0" fmla="*/ 0 h 6859588"/>
              <a:gd name="connsiteX1" fmla="*/ 11617390 w 11617627"/>
              <a:gd name="connsiteY1" fmla="*/ 0 h 6859588"/>
              <a:gd name="connsiteX2" fmla="*/ 11617436 w 11617627"/>
              <a:gd name="connsiteY2" fmla="*/ 17155 h 6859588"/>
              <a:gd name="connsiteX3" fmla="*/ 11614749 w 11617627"/>
              <a:gd name="connsiteY3" fmla="*/ 6341288 h 6859588"/>
              <a:gd name="connsiteX4" fmla="*/ 11505529 w 11617627"/>
              <a:gd name="connsiteY4" fmla="*/ 6544332 h 6859588"/>
              <a:gd name="connsiteX5" fmla="*/ 11186064 w 11617627"/>
              <a:gd name="connsiteY5" fmla="*/ 6859588 h 6859588"/>
              <a:gd name="connsiteX6" fmla="*/ 11185804 w 11617627"/>
              <a:gd name="connsiteY6" fmla="*/ 6859588 h 6859588"/>
              <a:gd name="connsiteX7" fmla="*/ 0 w 11617627"/>
              <a:gd name="connsiteY7" fmla="*/ 6859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617627" h="6859588">
                <a:moveTo>
                  <a:pt x="0" y="0"/>
                </a:moveTo>
                <a:lnTo>
                  <a:pt x="11617390" y="0"/>
                </a:lnTo>
                <a:lnTo>
                  <a:pt x="11617436" y="17155"/>
                </a:lnTo>
                <a:cubicBezTo>
                  <a:pt x="11618731" y="627883"/>
                  <a:pt x="11612985" y="6051414"/>
                  <a:pt x="11614749" y="6341288"/>
                </a:cubicBezTo>
                <a:cubicBezTo>
                  <a:pt x="11614686" y="6390696"/>
                  <a:pt x="11574191" y="6477489"/>
                  <a:pt x="11505529" y="6544332"/>
                </a:cubicBezTo>
                <a:lnTo>
                  <a:pt x="11186064" y="6859588"/>
                </a:lnTo>
                <a:lnTo>
                  <a:pt x="11185804" y="6859588"/>
                </a:lnTo>
                <a:lnTo>
                  <a:pt x="0" y="6859588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GB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2042904" y="2297646"/>
            <a:ext cx="4198817" cy="300013"/>
          </a:xfrm>
        </p:spPr>
        <p:txBody>
          <a:bodyPr wrap="square" anchor="b">
            <a:spAutoFit/>
          </a:bodyPr>
          <a:lstStyle>
            <a:lvl1pPr algn="l">
              <a:lnSpc>
                <a:spcPct val="100000"/>
              </a:lnSpc>
              <a:defRPr sz="1949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042904" y="2679737"/>
            <a:ext cx="4198817" cy="320216"/>
          </a:xfrm>
        </p:spPr>
        <p:txBody>
          <a:bodyPr wrap="square">
            <a:spAutoFit/>
          </a:bodyPr>
          <a:lstStyle>
            <a:lvl1pPr marL="0" marR="0" indent="0" algn="l" defTabSz="816364" rtl="0" eaLnBrk="1" fontAlgn="base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9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Freeform 10"/>
          <p:cNvSpPr/>
          <p:nvPr userDrawn="1"/>
        </p:nvSpPr>
        <p:spPr>
          <a:xfrm>
            <a:off x="787352" y="1995173"/>
            <a:ext cx="806234" cy="1151963"/>
          </a:xfrm>
          <a:custGeom>
            <a:avLst/>
            <a:gdLst>
              <a:gd name="connsiteX0" fmla="*/ 0 w 3498574"/>
              <a:gd name="connsiteY0" fmla="*/ 533873 h 5009322"/>
              <a:gd name="connsiteX1" fmla="*/ 1965108 w 3498574"/>
              <a:gd name="connsiteY1" fmla="*/ 2498981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53550 w 3498574"/>
              <a:gd name="connsiteY1" fmla="*/ 2482688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41992 w 3498574"/>
              <a:gd name="connsiteY1" fmla="*/ 2497200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465050 w 3509263"/>
              <a:gd name="connsiteY9" fmla="*/ 102231 h 5009322"/>
              <a:gd name="connsiteX10" fmla="*/ 0 w 3509263"/>
              <a:gd name="connsiteY10" fmla="*/ 538314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397553 w 3509263"/>
              <a:gd name="connsiteY9" fmla="*/ 157556 h 5009322"/>
              <a:gd name="connsiteX10" fmla="*/ 0 w 3509263"/>
              <a:gd name="connsiteY10" fmla="*/ 538314 h 5009322"/>
              <a:gd name="connsiteX0" fmla="*/ 0 w 3509263"/>
              <a:gd name="connsiteY0" fmla="*/ 865832 h 5336840"/>
              <a:gd name="connsiteX1" fmla="*/ 1952681 w 3509263"/>
              <a:gd name="connsiteY1" fmla="*/ 2824718 h 5336840"/>
              <a:gd name="connsiteX2" fmla="*/ 10689 w 3509263"/>
              <a:gd name="connsiteY2" fmla="*/ 4791607 h 5336840"/>
              <a:gd name="connsiteX3" fmla="*/ 430973 w 3509263"/>
              <a:gd name="connsiteY3" fmla="*/ 5234609 h 5336840"/>
              <a:gd name="connsiteX4" fmla="*/ 771743 w 3509263"/>
              <a:gd name="connsiteY4" fmla="*/ 5336840 h 5336840"/>
              <a:gd name="connsiteX5" fmla="*/ 1135231 w 3509263"/>
              <a:gd name="connsiteY5" fmla="*/ 5211891 h 5336840"/>
              <a:gd name="connsiteX6" fmla="*/ 3509263 w 3509263"/>
              <a:gd name="connsiteY6" fmla="*/ 2837858 h 5336840"/>
              <a:gd name="connsiteX7" fmla="*/ 1078436 w 3509263"/>
              <a:gd name="connsiteY7" fmla="*/ 418390 h 5336840"/>
              <a:gd name="connsiteX8" fmla="*/ 737666 w 3509263"/>
              <a:gd name="connsiteY8" fmla="*/ 327518 h 5336840"/>
              <a:gd name="connsiteX9" fmla="*/ 397553 w 3509263"/>
              <a:gd name="connsiteY9" fmla="*/ 485074 h 5336840"/>
              <a:gd name="connsiteX10" fmla="*/ 0 w 3509263"/>
              <a:gd name="connsiteY10" fmla="*/ 865832 h 5336840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2840 h 5013848"/>
              <a:gd name="connsiteX1" fmla="*/ 1952681 w 3509263"/>
              <a:gd name="connsiteY1" fmla="*/ 2501726 h 5013848"/>
              <a:gd name="connsiteX2" fmla="*/ 10689 w 3509263"/>
              <a:gd name="connsiteY2" fmla="*/ 4468615 h 5013848"/>
              <a:gd name="connsiteX3" fmla="*/ 430973 w 3509263"/>
              <a:gd name="connsiteY3" fmla="*/ 4911617 h 5013848"/>
              <a:gd name="connsiteX4" fmla="*/ 771743 w 3509263"/>
              <a:gd name="connsiteY4" fmla="*/ 5013848 h 5013848"/>
              <a:gd name="connsiteX5" fmla="*/ 1135231 w 3509263"/>
              <a:gd name="connsiteY5" fmla="*/ 4888899 h 5013848"/>
              <a:gd name="connsiteX6" fmla="*/ 3509263 w 3509263"/>
              <a:gd name="connsiteY6" fmla="*/ 2514866 h 5013848"/>
              <a:gd name="connsiteX7" fmla="*/ 1117296 w 3509263"/>
              <a:gd name="connsiteY7" fmla="*/ 134923 h 5013848"/>
              <a:gd name="connsiteX8" fmla="*/ 737666 w 3509263"/>
              <a:gd name="connsiteY8" fmla="*/ 4526 h 5013848"/>
              <a:gd name="connsiteX9" fmla="*/ 397553 w 3509263"/>
              <a:gd name="connsiteY9" fmla="*/ 162082 h 5013848"/>
              <a:gd name="connsiteX10" fmla="*/ 0 w 3509263"/>
              <a:gd name="connsiteY10" fmla="*/ 542840 h 5013848"/>
              <a:gd name="connsiteX0" fmla="*/ 0 w 3509263"/>
              <a:gd name="connsiteY0" fmla="*/ 526104 h 4997112"/>
              <a:gd name="connsiteX1" fmla="*/ 1952681 w 3509263"/>
              <a:gd name="connsiteY1" fmla="*/ 2484990 h 4997112"/>
              <a:gd name="connsiteX2" fmla="*/ 10689 w 3509263"/>
              <a:gd name="connsiteY2" fmla="*/ 4451879 h 4997112"/>
              <a:gd name="connsiteX3" fmla="*/ 430973 w 3509263"/>
              <a:gd name="connsiteY3" fmla="*/ 4894881 h 4997112"/>
              <a:gd name="connsiteX4" fmla="*/ 771743 w 3509263"/>
              <a:gd name="connsiteY4" fmla="*/ 4997112 h 4997112"/>
              <a:gd name="connsiteX5" fmla="*/ 1135231 w 3509263"/>
              <a:gd name="connsiteY5" fmla="*/ 4872163 h 4997112"/>
              <a:gd name="connsiteX6" fmla="*/ 3509263 w 3509263"/>
              <a:gd name="connsiteY6" fmla="*/ 2498130 h 4997112"/>
              <a:gd name="connsiteX7" fmla="*/ 1117296 w 3509263"/>
              <a:gd name="connsiteY7" fmla="*/ 118187 h 4997112"/>
              <a:gd name="connsiteX8" fmla="*/ 753426 w 3509263"/>
              <a:gd name="connsiteY8" fmla="*/ 4526 h 4997112"/>
              <a:gd name="connsiteX9" fmla="*/ 397553 w 3509263"/>
              <a:gd name="connsiteY9" fmla="*/ 145346 h 4997112"/>
              <a:gd name="connsiteX10" fmla="*/ 0 w 3509263"/>
              <a:gd name="connsiteY10" fmla="*/ 526104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64742 w 3500203"/>
              <a:gd name="connsiteY1" fmla="*/ 25023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5110 w 3505313"/>
              <a:gd name="connsiteY0" fmla="*/ 531610 h 4997112"/>
              <a:gd name="connsiteX1" fmla="*/ 1969852 w 3505313"/>
              <a:gd name="connsiteY1" fmla="*/ 2502390 h 4997112"/>
              <a:gd name="connsiteX2" fmla="*/ 0 w 3505313"/>
              <a:gd name="connsiteY2" fmla="*/ 4481321 h 4997112"/>
              <a:gd name="connsiteX3" fmla="*/ 427023 w 3505313"/>
              <a:gd name="connsiteY3" fmla="*/ 4894881 h 4997112"/>
              <a:gd name="connsiteX4" fmla="*/ 767793 w 3505313"/>
              <a:gd name="connsiteY4" fmla="*/ 4997112 h 4997112"/>
              <a:gd name="connsiteX5" fmla="*/ 1131281 w 3505313"/>
              <a:gd name="connsiteY5" fmla="*/ 4872163 h 4997112"/>
              <a:gd name="connsiteX6" fmla="*/ 3505313 w 3505313"/>
              <a:gd name="connsiteY6" fmla="*/ 2498130 h 4997112"/>
              <a:gd name="connsiteX7" fmla="*/ 1113346 w 3505313"/>
              <a:gd name="connsiteY7" fmla="*/ 118187 h 4997112"/>
              <a:gd name="connsiteX8" fmla="*/ 749476 w 3505313"/>
              <a:gd name="connsiteY8" fmla="*/ 4526 h 4997112"/>
              <a:gd name="connsiteX9" fmla="*/ 393603 w 3505313"/>
              <a:gd name="connsiteY9" fmla="*/ 145346 h 4997112"/>
              <a:gd name="connsiteX10" fmla="*/ 5110 w 3505313"/>
              <a:gd name="connsiteY10" fmla="*/ 531610 h 4997112"/>
              <a:gd name="connsiteX0" fmla="*/ 5110 w 3505313"/>
              <a:gd name="connsiteY0" fmla="*/ 531610 h 5288660"/>
              <a:gd name="connsiteX1" fmla="*/ 1969852 w 3505313"/>
              <a:gd name="connsiteY1" fmla="*/ 2502390 h 5288660"/>
              <a:gd name="connsiteX2" fmla="*/ 0 w 3505313"/>
              <a:gd name="connsiteY2" fmla="*/ 4481321 h 5288660"/>
              <a:gd name="connsiteX3" fmla="*/ 427023 w 3505313"/>
              <a:gd name="connsiteY3" fmla="*/ 4894881 h 5288660"/>
              <a:gd name="connsiteX4" fmla="*/ 767793 w 3505313"/>
              <a:gd name="connsiteY4" fmla="*/ 4997112 h 5288660"/>
              <a:gd name="connsiteX5" fmla="*/ 1131281 w 3505313"/>
              <a:gd name="connsiteY5" fmla="*/ 4872163 h 5288660"/>
              <a:gd name="connsiteX6" fmla="*/ 3505313 w 3505313"/>
              <a:gd name="connsiteY6" fmla="*/ 2498130 h 5288660"/>
              <a:gd name="connsiteX7" fmla="*/ 1113346 w 3505313"/>
              <a:gd name="connsiteY7" fmla="*/ 118187 h 5288660"/>
              <a:gd name="connsiteX8" fmla="*/ 749476 w 3505313"/>
              <a:gd name="connsiteY8" fmla="*/ 4526 h 5288660"/>
              <a:gd name="connsiteX9" fmla="*/ 393603 w 3505313"/>
              <a:gd name="connsiteY9" fmla="*/ 145346 h 5288660"/>
              <a:gd name="connsiteX10" fmla="*/ 5110 w 3505313"/>
              <a:gd name="connsiteY10" fmla="*/ 531610 h 5288660"/>
              <a:gd name="connsiteX0" fmla="*/ 5110 w 3505313"/>
              <a:gd name="connsiteY0" fmla="*/ 531610 h 5000898"/>
              <a:gd name="connsiteX1" fmla="*/ 1969852 w 3505313"/>
              <a:gd name="connsiteY1" fmla="*/ 2502390 h 5000898"/>
              <a:gd name="connsiteX2" fmla="*/ 0 w 3505313"/>
              <a:gd name="connsiteY2" fmla="*/ 4481321 h 5000898"/>
              <a:gd name="connsiteX3" fmla="*/ 427023 w 3505313"/>
              <a:gd name="connsiteY3" fmla="*/ 4894881 h 5000898"/>
              <a:gd name="connsiteX4" fmla="*/ 767793 w 3505313"/>
              <a:gd name="connsiteY4" fmla="*/ 4997112 h 5000898"/>
              <a:gd name="connsiteX5" fmla="*/ 1131281 w 3505313"/>
              <a:gd name="connsiteY5" fmla="*/ 4872163 h 5000898"/>
              <a:gd name="connsiteX6" fmla="*/ 3505313 w 3505313"/>
              <a:gd name="connsiteY6" fmla="*/ 2498130 h 5000898"/>
              <a:gd name="connsiteX7" fmla="*/ 1113346 w 3505313"/>
              <a:gd name="connsiteY7" fmla="*/ 118187 h 5000898"/>
              <a:gd name="connsiteX8" fmla="*/ 749476 w 3505313"/>
              <a:gd name="connsiteY8" fmla="*/ 4526 h 5000898"/>
              <a:gd name="connsiteX9" fmla="*/ 393603 w 3505313"/>
              <a:gd name="connsiteY9" fmla="*/ 145346 h 5000898"/>
              <a:gd name="connsiteX10" fmla="*/ 5110 w 3505313"/>
              <a:gd name="connsiteY10" fmla="*/ 531610 h 5000898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29652 h 5005303"/>
              <a:gd name="connsiteX1" fmla="*/ 1969852 w 3505313"/>
              <a:gd name="connsiteY1" fmla="*/ 2500432 h 5005303"/>
              <a:gd name="connsiteX2" fmla="*/ 0 w 3505313"/>
              <a:gd name="connsiteY2" fmla="*/ 4479363 h 5005303"/>
              <a:gd name="connsiteX3" fmla="*/ 427023 w 3505313"/>
              <a:gd name="connsiteY3" fmla="*/ 4892923 h 5005303"/>
              <a:gd name="connsiteX4" fmla="*/ 787503 w 3505313"/>
              <a:gd name="connsiteY4" fmla="*/ 5001517 h 5005303"/>
              <a:gd name="connsiteX5" fmla="*/ 1131281 w 3505313"/>
              <a:gd name="connsiteY5" fmla="*/ 4870205 h 5005303"/>
              <a:gd name="connsiteX6" fmla="*/ 3505313 w 3505313"/>
              <a:gd name="connsiteY6" fmla="*/ 2496172 h 5005303"/>
              <a:gd name="connsiteX7" fmla="*/ 1160106 w 3505313"/>
              <a:gd name="connsiteY7" fmla="*/ 158794 h 5005303"/>
              <a:gd name="connsiteX8" fmla="*/ 749476 w 3505313"/>
              <a:gd name="connsiteY8" fmla="*/ 2568 h 5005303"/>
              <a:gd name="connsiteX9" fmla="*/ 393603 w 3505313"/>
              <a:gd name="connsiteY9" fmla="*/ 143388 h 5005303"/>
              <a:gd name="connsiteX10" fmla="*/ 5110 w 3505313"/>
              <a:gd name="connsiteY10" fmla="*/ 529652 h 5005303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416 h 5008067"/>
              <a:gd name="connsiteX1" fmla="*/ 1969852 w 3505313"/>
              <a:gd name="connsiteY1" fmla="*/ 2503196 h 5008067"/>
              <a:gd name="connsiteX2" fmla="*/ 0 w 3505313"/>
              <a:gd name="connsiteY2" fmla="*/ 4482127 h 5008067"/>
              <a:gd name="connsiteX3" fmla="*/ 427023 w 3505313"/>
              <a:gd name="connsiteY3" fmla="*/ 4895687 h 5008067"/>
              <a:gd name="connsiteX4" fmla="*/ 787503 w 3505313"/>
              <a:gd name="connsiteY4" fmla="*/ 5004281 h 5008067"/>
              <a:gd name="connsiteX5" fmla="*/ 1131281 w 3505313"/>
              <a:gd name="connsiteY5" fmla="*/ 4872969 h 5008067"/>
              <a:gd name="connsiteX6" fmla="*/ 3505313 w 3505313"/>
              <a:gd name="connsiteY6" fmla="*/ 2498936 h 5008067"/>
              <a:gd name="connsiteX7" fmla="*/ 1160106 w 3505313"/>
              <a:gd name="connsiteY7" fmla="*/ 161558 h 5008067"/>
              <a:gd name="connsiteX8" fmla="*/ 796836 w 3505313"/>
              <a:gd name="connsiteY8" fmla="*/ 2318 h 5008067"/>
              <a:gd name="connsiteX9" fmla="*/ 393603 w 3505313"/>
              <a:gd name="connsiteY9" fmla="*/ 146152 h 5008067"/>
              <a:gd name="connsiteX10" fmla="*/ 5110 w 3505313"/>
              <a:gd name="connsiteY10" fmla="*/ 532416 h 500806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05313" h="5008317">
                <a:moveTo>
                  <a:pt x="5110" y="532666"/>
                </a:moveTo>
                <a:lnTo>
                  <a:pt x="1969852" y="2503446"/>
                </a:lnTo>
                <a:lnTo>
                  <a:pt x="0" y="4482377"/>
                </a:lnTo>
                <a:lnTo>
                  <a:pt x="427023" y="4895937"/>
                </a:lnTo>
                <a:cubicBezTo>
                  <a:pt x="510281" y="4969426"/>
                  <a:pt x="670127" y="5008317"/>
                  <a:pt x="787503" y="5004531"/>
                </a:cubicBezTo>
                <a:cubicBezTo>
                  <a:pt x="904879" y="5000745"/>
                  <a:pt x="1004011" y="4978861"/>
                  <a:pt x="1131281" y="4873219"/>
                </a:cubicBezTo>
                <a:lnTo>
                  <a:pt x="3505313" y="2499186"/>
                </a:lnTo>
                <a:lnTo>
                  <a:pt x="1160106" y="161808"/>
                </a:lnTo>
                <a:cubicBezTo>
                  <a:pt x="1068649" y="89635"/>
                  <a:pt x="968345" y="5136"/>
                  <a:pt x="796836" y="2568"/>
                </a:cubicBezTo>
                <a:cubicBezTo>
                  <a:pt x="625327" y="0"/>
                  <a:pt x="475789" y="68559"/>
                  <a:pt x="393603" y="146402"/>
                </a:cubicBezTo>
                <a:lnTo>
                  <a:pt x="5110" y="532666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GB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Freeform 11"/>
          <p:cNvSpPr/>
          <p:nvPr userDrawn="1"/>
        </p:nvSpPr>
        <p:spPr>
          <a:xfrm flipH="1">
            <a:off x="6381295" y="1031445"/>
            <a:ext cx="2153056" cy="3076331"/>
          </a:xfrm>
          <a:custGeom>
            <a:avLst/>
            <a:gdLst>
              <a:gd name="connsiteX0" fmla="*/ 0 w 3498574"/>
              <a:gd name="connsiteY0" fmla="*/ 533873 h 5009322"/>
              <a:gd name="connsiteX1" fmla="*/ 1965108 w 3498574"/>
              <a:gd name="connsiteY1" fmla="*/ 2498981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53550 w 3498574"/>
              <a:gd name="connsiteY1" fmla="*/ 2482688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41992 w 3498574"/>
              <a:gd name="connsiteY1" fmla="*/ 2497200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465050 w 3509263"/>
              <a:gd name="connsiteY9" fmla="*/ 102231 h 5009322"/>
              <a:gd name="connsiteX10" fmla="*/ 0 w 3509263"/>
              <a:gd name="connsiteY10" fmla="*/ 538314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397553 w 3509263"/>
              <a:gd name="connsiteY9" fmla="*/ 157556 h 5009322"/>
              <a:gd name="connsiteX10" fmla="*/ 0 w 3509263"/>
              <a:gd name="connsiteY10" fmla="*/ 538314 h 5009322"/>
              <a:gd name="connsiteX0" fmla="*/ 0 w 3509263"/>
              <a:gd name="connsiteY0" fmla="*/ 865832 h 5336840"/>
              <a:gd name="connsiteX1" fmla="*/ 1952681 w 3509263"/>
              <a:gd name="connsiteY1" fmla="*/ 2824718 h 5336840"/>
              <a:gd name="connsiteX2" fmla="*/ 10689 w 3509263"/>
              <a:gd name="connsiteY2" fmla="*/ 4791607 h 5336840"/>
              <a:gd name="connsiteX3" fmla="*/ 430973 w 3509263"/>
              <a:gd name="connsiteY3" fmla="*/ 5234609 h 5336840"/>
              <a:gd name="connsiteX4" fmla="*/ 771743 w 3509263"/>
              <a:gd name="connsiteY4" fmla="*/ 5336840 h 5336840"/>
              <a:gd name="connsiteX5" fmla="*/ 1135231 w 3509263"/>
              <a:gd name="connsiteY5" fmla="*/ 5211891 h 5336840"/>
              <a:gd name="connsiteX6" fmla="*/ 3509263 w 3509263"/>
              <a:gd name="connsiteY6" fmla="*/ 2837858 h 5336840"/>
              <a:gd name="connsiteX7" fmla="*/ 1078436 w 3509263"/>
              <a:gd name="connsiteY7" fmla="*/ 418390 h 5336840"/>
              <a:gd name="connsiteX8" fmla="*/ 737666 w 3509263"/>
              <a:gd name="connsiteY8" fmla="*/ 327518 h 5336840"/>
              <a:gd name="connsiteX9" fmla="*/ 397553 w 3509263"/>
              <a:gd name="connsiteY9" fmla="*/ 485074 h 5336840"/>
              <a:gd name="connsiteX10" fmla="*/ 0 w 3509263"/>
              <a:gd name="connsiteY10" fmla="*/ 865832 h 5336840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2840 h 5013848"/>
              <a:gd name="connsiteX1" fmla="*/ 1952681 w 3509263"/>
              <a:gd name="connsiteY1" fmla="*/ 2501726 h 5013848"/>
              <a:gd name="connsiteX2" fmla="*/ 10689 w 3509263"/>
              <a:gd name="connsiteY2" fmla="*/ 4468615 h 5013848"/>
              <a:gd name="connsiteX3" fmla="*/ 430973 w 3509263"/>
              <a:gd name="connsiteY3" fmla="*/ 4911617 h 5013848"/>
              <a:gd name="connsiteX4" fmla="*/ 771743 w 3509263"/>
              <a:gd name="connsiteY4" fmla="*/ 5013848 h 5013848"/>
              <a:gd name="connsiteX5" fmla="*/ 1135231 w 3509263"/>
              <a:gd name="connsiteY5" fmla="*/ 4888899 h 5013848"/>
              <a:gd name="connsiteX6" fmla="*/ 3509263 w 3509263"/>
              <a:gd name="connsiteY6" fmla="*/ 2514866 h 5013848"/>
              <a:gd name="connsiteX7" fmla="*/ 1117296 w 3509263"/>
              <a:gd name="connsiteY7" fmla="*/ 134923 h 5013848"/>
              <a:gd name="connsiteX8" fmla="*/ 737666 w 3509263"/>
              <a:gd name="connsiteY8" fmla="*/ 4526 h 5013848"/>
              <a:gd name="connsiteX9" fmla="*/ 397553 w 3509263"/>
              <a:gd name="connsiteY9" fmla="*/ 162082 h 5013848"/>
              <a:gd name="connsiteX10" fmla="*/ 0 w 3509263"/>
              <a:gd name="connsiteY10" fmla="*/ 542840 h 5013848"/>
              <a:gd name="connsiteX0" fmla="*/ 0 w 3509263"/>
              <a:gd name="connsiteY0" fmla="*/ 526104 h 4997112"/>
              <a:gd name="connsiteX1" fmla="*/ 1952681 w 3509263"/>
              <a:gd name="connsiteY1" fmla="*/ 2484990 h 4997112"/>
              <a:gd name="connsiteX2" fmla="*/ 10689 w 3509263"/>
              <a:gd name="connsiteY2" fmla="*/ 4451879 h 4997112"/>
              <a:gd name="connsiteX3" fmla="*/ 430973 w 3509263"/>
              <a:gd name="connsiteY3" fmla="*/ 4894881 h 4997112"/>
              <a:gd name="connsiteX4" fmla="*/ 771743 w 3509263"/>
              <a:gd name="connsiteY4" fmla="*/ 4997112 h 4997112"/>
              <a:gd name="connsiteX5" fmla="*/ 1135231 w 3509263"/>
              <a:gd name="connsiteY5" fmla="*/ 4872163 h 4997112"/>
              <a:gd name="connsiteX6" fmla="*/ 3509263 w 3509263"/>
              <a:gd name="connsiteY6" fmla="*/ 2498130 h 4997112"/>
              <a:gd name="connsiteX7" fmla="*/ 1117296 w 3509263"/>
              <a:gd name="connsiteY7" fmla="*/ 118187 h 4997112"/>
              <a:gd name="connsiteX8" fmla="*/ 753426 w 3509263"/>
              <a:gd name="connsiteY8" fmla="*/ 4526 h 4997112"/>
              <a:gd name="connsiteX9" fmla="*/ 397553 w 3509263"/>
              <a:gd name="connsiteY9" fmla="*/ 145346 h 4997112"/>
              <a:gd name="connsiteX10" fmla="*/ 0 w 3509263"/>
              <a:gd name="connsiteY10" fmla="*/ 526104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64742 w 3500203"/>
              <a:gd name="connsiteY1" fmla="*/ 25023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5110 w 3505313"/>
              <a:gd name="connsiteY0" fmla="*/ 531610 h 4997112"/>
              <a:gd name="connsiteX1" fmla="*/ 1969852 w 3505313"/>
              <a:gd name="connsiteY1" fmla="*/ 2502390 h 4997112"/>
              <a:gd name="connsiteX2" fmla="*/ 0 w 3505313"/>
              <a:gd name="connsiteY2" fmla="*/ 4481321 h 4997112"/>
              <a:gd name="connsiteX3" fmla="*/ 427023 w 3505313"/>
              <a:gd name="connsiteY3" fmla="*/ 4894881 h 4997112"/>
              <a:gd name="connsiteX4" fmla="*/ 767793 w 3505313"/>
              <a:gd name="connsiteY4" fmla="*/ 4997112 h 4997112"/>
              <a:gd name="connsiteX5" fmla="*/ 1131281 w 3505313"/>
              <a:gd name="connsiteY5" fmla="*/ 4872163 h 4997112"/>
              <a:gd name="connsiteX6" fmla="*/ 3505313 w 3505313"/>
              <a:gd name="connsiteY6" fmla="*/ 2498130 h 4997112"/>
              <a:gd name="connsiteX7" fmla="*/ 1113346 w 3505313"/>
              <a:gd name="connsiteY7" fmla="*/ 118187 h 4997112"/>
              <a:gd name="connsiteX8" fmla="*/ 749476 w 3505313"/>
              <a:gd name="connsiteY8" fmla="*/ 4526 h 4997112"/>
              <a:gd name="connsiteX9" fmla="*/ 393603 w 3505313"/>
              <a:gd name="connsiteY9" fmla="*/ 145346 h 4997112"/>
              <a:gd name="connsiteX10" fmla="*/ 5110 w 3505313"/>
              <a:gd name="connsiteY10" fmla="*/ 531610 h 4997112"/>
              <a:gd name="connsiteX0" fmla="*/ 5110 w 3505313"/>
              <a:gd name="connsiteY0" fmla="*/ 531610 h 5288660"/>
              <a:gd name="connsiteX1" fmla="*/ 1969852 w 3505313"/>
              <a:gd name="connsiteY1" fmla="*/ 2502390 h 5288660"/>
              <a:gd name="connsiteX2" fmla="*/ 0 w 3505313"/>
              <a:gd name="connsiteY2" fmla="*/ 4481321 h 5288660"/>
              <a:gd name="connsiteX3" fmla="*/ 427023 w 3505313"/>
              <a:gd name="connsiteY3" fmla="*/ 4894881 h 5288660"/>
              <a:gd name="connsiteX4" fmla="*/ 767793 w 3505313"/>
              <a:gd name="connsiteY4" fmla="*/ 4997112 h 5288660"/>
              <a:gd name="connsiteX5" fmla="*/ 1131281 w 3505313"/>
              <a:gd name="connsiteY5" fmla="*/ 4872163 h 5288660"/>
              <a:gd name="connsiteX6" fmla="*/ 3505313 w 3505313"/>
              <a:gd name="connsiteY6" fmla="*/ 2498130 h 5288660"/>
              <a:gd name="connsiteX7" fmla="*/ 1113346 w 3505313"/>
              <a:gd name="connsiteY7" fmla="*/ 118187 h 5288660"/>
              <a:gd name="connsiteX8" fmla="*/ 749476 w 3505313"/>
              <a:gd name="connsiteY8" fmla="*/ 4526 h 5288660"/>
              <a:gd name="connsiteX9" fmla="*/ 393603 w 3505313"/>
              <a:gd name="connsiteY9" fmla="*/ 145346 h 5288660"/>
              <a:gd name="connsiteX10" fmla="*/ 5110 w 3505313"/>
              <a:gd name="connsiteY10" fmla="*/ 531610 h 5288660"/>
              <a:gd name="connsiteX0" fmla="*/ 5110 w 3505313"/>
              <a:gd name="connsiteY0" fmla="*/ 531610 h 5000898"/>
              <a:gd name="connsiteX1" fmla="*/ 1969852 w 3505313"/>
              <a:gd name="connsiteY1" fmla="*/ 2502390 h 5000898"/>
              <a:gd name="connsiteX2" fmla="*/ 0 w 3505313"/>
              <a:gd name="connsiteY2" fmla="*/ 4481321 h 5000898"/>
              <a:gd name="connsiteX3" fmla="*/ 427023 w 3505313"/>
              <a:gd name="connsiteY3" fmla="*/ 4894881 h 5000898"/>
              <a:gd name="connsiteX4" fmla="*/ 767793 w 3505313"/>
              <a:gd name="connsiteY4" fmla="*/ 4997112 h 5000898"/>
              <a:gd name="connsiteX5" fmla="*/ 1131281 w 3505313"/>
              <a:gd name="connsiteY5" fmla="*/ 4872163 h 5000898"/>
              <a:gd name="connsiteX6" fmla="*/ 3505313 w 3505313"/>
              <a:gd name="connsiteY6" fmla="*/ 2498130 h 5000898"/>
              <a:gd name="connsiteX7" fmla="*/ 1113346 w 3505313"/>
              <a:gd name="connsiteY7" fmla="*/ 118187 h 5000898"/>
              <a:gd name="connsiteX8" fmla="*/ 749476 w 3505313"/>
              <a:gd name="connsiteY8" fmla="*/ 4526 h 5000898"/>
              <a:gd name="connsiteX9" fmla="*/ 393603 w 3505313"/>
              <a:gd name="connsiteY9" fmla="*/ 145346 h 5000898"/>
              <a:gd name="connsiteX10" fmla="*/ 5110 w 3505313"/>
              <a:gd name="connsiteY10" fmla="*/ 531610 h 5000898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29652 h 5005303"/>
              <a:gd name="connsiteX1" fmla="*/ 1969852 w 3505313"/>
              <a:gd name="connsiteY1" fmla="*/ 2500432 h 5005303"/>
              <a:gd name="connsiteX2" fmla="*/ 0 w 3505313"/>
              <a:gd name="connsiteY2" fmla="*/ 4479363 h 5005303"/>
              <a:gd name="connsiteX3" fmla="*/ 427023 w 3505313"/>
              <a:gd name="connsiteY3" fmla="*/ 4892923 h 5005303"/>
              <a:gd name="connsiteX4" fmla="*/ 787503 w 3505313"/>
              <a:gd name="connsiteY4" fmla="*/ 5001517 h 5005303"/>
              <a:gd name="connsiteX5" fmla="*/ 1131281 w 3505313"/>
              <a:gd name="connsiteY5" fmla="*/ 4870205 h 5005303"/>
              <a:gd name="connsiteX6" fmla="*/ 3505313 w 3505313"/>
              <a:gd name="connsiteY6" fmla="*/ 2496172 h 5005303"/>
              <a:gd name="connsiteX7" fmla="*/ 1160106 w 3505313"/>
              <a:gd name="connsiteY7" fmla="*/ 158794 h 5005303"/>
              <a:gd name="connsiteX8" fmla="*/ 749476 w 3505313"/>
              <a:gd name="connsiteY8" fmla="*/ 2568 h 5005303"/>
              <a:gd name="connsiteX9" fmla="*/ 393603 w 3505313"/>
              <a:gd name="connsiteY9" fmla="*/ 143388 h 5005303"/>
              <a:gd name="connsiteX10" fmla="*/ 5110 w 3505313"/>
              <a:gd name="connsiteY10" fmla="*/ 529652 h 5005303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416 h 5008067"/>
              <a:gd name="connsiteX1" fmla="*/ 1969852 w 3505313"/>
              <a:gd name="connsiteY1" fmla="*/ 2503196 h 5008067"/>
              <a:gd name="connsiteX2" fmla="*/ 0 w 3505313"/>
              <a:gd name="connsiteY2" fmla="*/ 4482127 h 5008067"/>
              <a:gd name="connsiteX3" fmla="*/ 427023 w 3505313"/>
              <a:gd name="connsiteY3" fmla="*/ 4895687 h 5008067"/>
              <a:gd name="connsiteX4" fmla="*/ 787503 w 3505313"/>
              <a:gd name="connsiteY4" fmla="*/ 5004281 h 5008067"/>
              <a:gd name="connsiteX5" fmla="*/ 1131281 w 3505313"/>
              <a:gd name="connsiteY5" fmla="*/ 4872969 h 5008067"/>
              <a:gd name="connsiteX6" fmla="*/ 3505313 w 3505313"/>
              <a:gd name="connsiteY6" fmla="*/ 2498936 h 5008067"/>
              <a:gd name="connsiteX7" fmla="*/ 1160106 w 3505313"/>
              <a:gd name="connsiteY7" fmla="*/ 161558 h 5008067"/>
              <a:gd name="connsiteX8" fmla="*/ 796836 w 3505313"/>
              <a:gd name="connsiteY8" fmla="*/ 2318 h 5008067"/>
              <a:gd name="connsiteX9" fmla="*/ 393603 w 3505313"/>
              <a:gd name="connsiteY9" fmla="*/ 146152 h 5008067"/>
              <a:gd name="connsiteX10" fmla="*/ 5110 w 3505313"/>
              <a:gd name="connsiteY10" fmla="*/ 532416 h 500806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05313" h="5008317">
                <a:moveTo>
                  <a:pt x="5110" y="532666"/>
                </a:moveTo>
                <a:lnTo>
                  <a:pt x="1969852" y="2503446"/>
                </a:lnTo>
                <a:lnTo>
                  <a:pt x="0" y="4482377"/>
                </a:lnTo>
                <a:lnTo>
                  <a:pt x="427023" y="4895937"/>
                </a:lnTo>
                <a:cubicBezTo>
                  <a:pt x="510281" y="4969426"/>
                  <a:pt x="670127" y="5008317"/>
                  <a:pt x="787503" y="5004531"/>
                </a:cubicBezTo>
                <a:cubicBezTo>
                  <a:pt x="904879" y="5000745"/>
                  <a:pt x="1004011" y="4978861"/>
                  <a:pt x="1131281" y="4873219"/>
                </a:cubicBezTo>
                <a:lnTo>
                  <a:pt x="3505313" y="2499186"/>
                </a:lnTo>
                <a:lnTo>
                  <a:pt x="1160106" y="161808"/>
                </a:lnTo>
                <a:cubicBezTo>
                  <a:pt x="1068649" y="89635"/>
                  <a:pt x="968345" y="5136"/>
                  <a:pt x="796836" y="2568"/>
                </a:cubicBezTo>
                <a:cubicBezTo>
                  <a:pt x="625327" y="0"/>
                  <a:pt x="475789" y="68559"/>
                  <a:pt x="393603" y="146402"/>
                </a:cubicBezTo>
                <a:lnTo>
                  <a:pt x="5110" y="532666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GB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 descr="BlackLogo.png">
            <a:extLst>
              <a:ext uri="{FF2B5EF4-FFF2-40B4-BE49-F238E27FC236}">
                <a16:creationId xmlns:a16="http://schemas.microsoft.com/office/drawing/2014/main" id="{F86350B1-575F-F8A0-3D8B-3A4F6164B1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52645" y="196036"/>
            <a:ext cx="994827" cy="250478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631C43C-4F6B-2090-DDF5-08F22D60F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445611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text and image">
    <p:bg>
      <p:bgPr>
        <a:blipFill dpi="0" rotWithShape="1">
          <a:blip r:embed="rId2" cstate="print">
            <a:lum/>
          </a:blip>
          <a:srcRect/>
          <a:stretch>
            <a:fillRect l="-100" t="-100" r="-100" b="-1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063A69F-3616-30D9-2351-A568CF1F8BC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auto">
          <a:xfrm>
            <a:off x="0" y="0"/>
            <a:ext cx="9144000" cy="5144805"/>
          </a:xfrm>
          <a:custGeom>
            <a:avLst/>
            <a:gdLst>
              <a:gd name="connsiteX0" fmla="*/ 4291 w 12195175"/>
              <a:gd name="connsiteY0" fmla="*/ 6859588 h 6861328"/>
              <a:gd name="connsiteX1" fmla="*/ 5581594 w 12195175"/>
              <a:gd name="connsiteY1" fmla="*/ 6859588 h 6861328"/>
              <a:gd name="connsiteX2" fmla="*/ 5579868 w 12195175"/>
              <a:gd name="connsiteY2" fmla="*/ 6861328 h 6861328"/>
              <a:gd name="connsiteX3" fmla="*/ 6000280 w 12195175"/>
              <a:gd name="connsiteY3" fmla="*/ 0 h 6861328"/>
              <a:gd name="connsiteX4" fmla="*/ 12195175 w 12195175"/>
              <a:gd name="connsiteY4" fmla="*/ 0 h 6861328"/>
              <a:gd name="connsiteX5" fmla="*/ 12195175 w 12195175"/>
              <a:gd name="connsiteY5" fmla="*/ 6859588 h 6861328"/>
              <a:gd name="connsiteX6" fmla="*/ 5581594 w 12195175"/>
              <a:gd name="connsiteY6" fmla="*/ 6859588 h 6861328"/>
              <a:gd name="connsiteX7" fmla="*/ 5891323 w 12195175"/>
              <a:gd name="connsiteY7" fmla="*/ 6547210 h 6861328"/>
              <a:gd name="connsiteX8" fmla="*/ 5997804 w 12195175"/>
              <a:gd name="connsiteY8" fmla="*/ 6344898 h 6861328"/>
              <a:gd name="connsiteX9" fmla="*/ 6000280 w 12195175"/>
              <a:gd name="connsiteY9" fmla="*/ 0 h 6861328"/>
              <a:gd name="connsiteX10" fmla="*/ 0 w 12195175"/>
              <a:gd name="connsiteY10" fmla="*/ 0 h 6861328"/>
              <a:gd name="connsiteX11" fmla="*/ 4292 w 12195175"/>
              <a:gd name="connsiteY11" fmla="*/ 0 h 6861328"/>
              <a:gd name="connsiteX12" fmla="*/ 4291 w 12195175"/>
              <a:gd name="connsiteY12" fmla="*/ 6859588 h 6861328"/>
              <a:gd name="connsiteX13" fmla="*/ 0 w 12195175"/>
              <a:gd name="connsiteY13" fmla="*/ 6859588 h 686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5175" h="6861328">
                <a:moveTo>
                  <a:pt x="4291" y="6859588"/>
                </a:moveTo>
                <a:lnTo>
                  <a:pt x="5581594" y="6859588"/>
                </a:lnTo>
                <a:lnTo>
                  <a:pt x="5579868" y="6861328"/>
                </a:lnTo>
                <a:close/>
                <a:moveTo>
                  <a:pt x="6000280" y="0"/>
                </a:moveTo>
                <a:lnTo>
                  <a:pt x="12195175" y="0"/>
                </a:lnTo>
                <a:lnTo>
                  <a:pt x="12195175" y="6859588"/>
                </a:lnTo>
                <a:lnTo>
                  <a:pt x="5581594" y="6859588"/>
                </a:lnTo>
                <a:lnTo>
                  <a:pt x="5891323" y="6547210"/>
                </a:lnTo>
                <a:cubicBezTo>
                  <a:pt x="5958263" y="6480608"/>
                  <a:pt x="5997743" y="6394128"/>
                  <a:pt x="5997804" y="6344898"/>
                </a:cubicBezTo>
                <a:cubicBezTo>
                  <a:pt x="5996029" y="6046753"/>
                  <a:pt x="6002055" y="298145"/>
                  <a:pt x="6000280" y="0"/>
                </a:cubicBezTo>
                <a:close/>
                <a:moveTo>
                  <a:pt x="0" y="0"/>
                </a:moveTo>
                <a:lnTo>
                  <a:pt x="4292" y="0"/>
                </a:lnTo>
                <a:cubicBezTo>
                  <a:pt x="4292" y="2286529"/>
                  <a:pt x="4291" y="4573059"/>
                  <a:pt x="4291" y="6859588"/>
                </a:cubicBezTo>
                <a:lnTo>
                  <a:pt x="0" y="6859588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noAutofit/>
          </a:bodyPr>
          <a:lstStyle/>
          <a:p>
            <a:endParaRPr lang="en-AT"/>
          </a:p>
        </p:txBody>
      </p:sp>
      <p:sp>
        <p:nvSpPr>
          <p:cNvPr id="15" name="Freeform 14"/>
          <p:cNvSpPr/>
          <p:nvPr userDrawn="1"/>
        </p:nvSpPr>
        <p:spPr>
          <a:xfrm rot="10800000">
            <a:off x="8066902" y="3381653"/>
            <a:ext cx="756820" cy="1081360"/>
          </a:xfrm>
          <a:custGeom>
            <a:avLst/>
            <a:gdLst>
              <a:gd name="connsiteX0" fmla="*/ 0 w 3498574"/>
              <a:gd name="connsiteY0" fmla="*/ 533873 h 5009322"/>
              <a:gd name="connsiteX1" fmla="*/ 1965108 w 3498574"/>
              <a:gd name="connsiteY1" fmla="*/ 2498981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53550 w 3498574"/>
              <a:gd name="connsiteY1" fmla="*/ 2482688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498574"/>
              <a:gd name="connsiteY0" fmla="*/ 533873 h 5009322"/>
              <a:gd name="connsiteX1" fmla="*/ 1941992 w 3498574"/>
              <a:gd name="connsiteY1" fmla="*/ 2497200 h 5009322"/>
              <a:gd name="connsiteX2" fmla="*/ 0 w 3498574"/>
              <a:gd name="connsiteY2" fmla="*/ 4464089 h 5009322"/>
              <a:gd name="connsiteX3" fmla="*/ 420284 w 3498574"/>
              <a:gd name="connsiteY3" fmla="*/ 4907091 h 5009322"/>
              <a:gd name="connsiteX4" fmla="*/ 761054 w 3498574"/>
              <a:gd name="connsiteY4" fmla="*/ 5009322 h 5009322"/>
              <a:gd name="connsiteX5" fmla="*/ 1124542 w 3498574"/>
              <a:gd name="connsiteY5" fmla="*/ 4884373 h 5009322"/>
              <a:gd name="connsiteX6" fmla="*/ 3498574 w 3498574"/>
              <a:gd name="connsiteY6" fmla="*/ 2510340 h 5009322"/>
              <a:gd name="connsiteX7" fmla="*/ 1067747 w 3498574"/>
              <a:gd name="connsiteY7" fmla="*/ 90872 h 5009322"/>
              <a:gd name="connsiteX8" fmla="*/ 726977 w 3498574"/>
              <a:gd name="connsiteY8" fmla="*/ 0 h 5009322"/>
              <a:gd name="connsiteX9" fmla="*/ 454361 w 3498574"/>
              <a:gd name="connsiteY9" fmla="*/ 102231 h 5009322"/>
              <a:gd name="connsiteX10" fmla="*/ 0 w 3498574"/>
              <a:gd name="connsiteY10" fmla="*/ 533873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465050 w 3509263"/>
              <a:gd name="connsiteY9" fmla="*/ 102231 h 5009322"/>
              <a:gd name="connsiteX10" fmla="*/ 0 w 3509263"/>
              <a:gd name="connsiteY10" fmla="*/ 538314 h 5009322"/>
              <a:gd name="connsiteX0" fmla="*/ 0 w 3509263"/>
              <a:gd name="connsiteY0" fmla="*/ 538314 h 5009322"/>
              <a:gd name="connsiteX1" fmla="*/ 1952681 w 3509263"/>
              <a:gd name="connsiteY1" fmla="*/ 2497200 h 5009322"/>
              <a:gd name="connsiteX2" fmla="*/ 10689 w 3509263"/>
              <a:gd name="connsiteY2" fmla="*/ 4464089 h 5009322"/>
              <a:gd name="connsiteX3" fmla="*/ 430973 w 3509263"/>
              <a:gd name="connsiteY3" fmla="*/ 4907091 h 5009322"/>
              <a:gd name="connsiteX4" fmla="*/ 771743 w 3509263"/>
              <a:gd name="connsiteY4" fmla="*/ 5009322 h 5009322"/>
              <a:gd name="connsiteX5" fmla="*/ 1135231 w 3509263"/>
              <a:gd name="connsiteY5" fmla="*/ 4884373 h 5009322"/>
              <a:gd name="connsiteX6" fmla="*/ 3509263 w 3509263"/>
              <a:gd name="connsiteY6" fmla="*/ 2510340 h 5009322"/>
              <a:gd name="connsiteX7" fmla="*/ 1078436 w 3509263"/>
              <a:gd name="connsiteY7" fmla="*/ 90872 h 5009322"/>
              <a:gd name="connsiteX8" fmla="*/ 737666 w 3509263"/>
              <a:gd name="connsiteY8" fmla="*/ 0 h 5009322"/>
              <a:gd name="connsiteX9" fmla="*/ 397553 w 3509263"/>
              <a:gd name="connsiteY9" fmla="*/ 157556 h 5009322"/>
              <a:gd name="connsiteX10" fmla="*/ 0 w 3509263"/>
              <a:gd name="connsiteY10" fmla="*/ 538314 h 5009322"/>
              <a:gd name="connsiteX0" fmla="*/ 0 w 3509263"/>
              <a:gd name="connsiteY0" fmla="*/ 865832 h 5336840"/>
              <a:gd name="connsiteX1" fmla="*/ 1952681 w 3509263"/>
              <a:gd name="connsiteY1" fmla="*/ 2824718 h 5336840"/>
              <a:gd name="connsiteX2" fmla="*/ 10689 w 3509263"/>
              <a:gd name="connsiteY2" fmla="*/ 4791607 h 5336840"/>
              <a:gd name="connsiteX3" fmla="*/ 430973 w 3509263"/>
              <a:gd name="connsiteY3" fmla="*/ 5234609 h 5336840"/>
              <a:gd name="connsiteX4" fmla="*/ 771743 w 3509263"/>
              <a:gd name="connsiteY4" fmla="*/ 5336840 h 5336840"/>
              <a:gd name="connsiteX5" fmla="*/ 1135231 w 3509263"/>
              <a:gd name="connsiteY5" fmla="*/ 5211891 h 5336840"/>
              <a:gd name="connsiteX6" fmla="*/ 3509263 w 3509263"/>
              <a:gd name="connsiteY6" fmla="*/ 2837858 h 5336840"/>
              <a:gd name="connsiteX7" fmla="*/ 1078436 w 3509263"/>
              <a:gd name="connsiteY7" fmla="*/ 418390 h 5336840"/>
              <a:gd name="connsiteX8" fmla="*/ 737666 w 3509263"/>
              <a:gd name="connsiteY8" fmla="*/ 327518 h 5336840"/>
              <a:gd name="connsiteX9" fmla="*/ 397553 w 3509263"/>
              <a:gd name="connsiteY9" fmla="*/ 485074 h 5336840"/>
              <a:gd name="connsiteX10" fmla="*/ 0 w 3509263"/>
              <a:gd name="connsiteY10" fmla="*/ 865832 h 5336840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9428 h 5020436"/>
              <a:gd name="connsiteX1" fmla="*/ 1952681 w 3509263"/>
              <a:gd name="connsiteY1" fmla="*/ 2508314 h 5020436"/>
              <a:gd name="connsiteX2" fmla="*/ 10689 w 3509263"/>
              <a:gd name="connsiteY2" fmla="*/ 4475203 h 5020436"/>
              <a:gd name="connsiteX3" fmla="*/ 430973 w 3509263"/>
              <a:gd name="connsiteY3" fmla="*/ 4918205 h 5020436"/>
              <a:gd name="connsiteX4" fmla="*/ 771743 w 3509263"/>
              <a:gd name="connsiteY4" fmla="*/ 5020436 h 5020436"/>
              <a:gd name="connsiteX5" fmla="*/ 1135231 w 3509263"/>
              <a:gd name="connsiteY5" fmla="*/ 4895487 h 5020436"/>
              <a:gd name="connsiteX6" fmla="*/ 3509263 w 3509263"/>
              <a:gd name="connsiteY6" fmla="*/ 2521454 h 5020436"/>
              <a:gd name="connsiteX7" fmla="*/ 1078436 w 3509263"/>
              <a:gd name="connsiteY7" fmla="*/ 101986 h 5020436"/>
              <a:gd name="connsiteX8" fmla="*/ 737666 w 3509263"/>
              <a:gd name="connsiteY8" fmla="*/ 11114 h 5020436"/>
              <a:gd name="connsiteX9" fmla="*/ 397553 w 3509263"/>
              <a:gd name="connsiteY9" fmla="*/ 168670 h 5020436"/>
              <a:gd name="connsiteX10" fmla="*/ 0 w 3509263"/>
              <a:gd name="connsiteY10" fmla="*/ 549428 h 5020436"/>
              <a:gd name="connsiteX0" fmla="*/ 0 w 3509263"/>
              <a:gd name="connsiteY0" fmla="*/ 542840 h 5013848"/>
              <a:gd name="connsiteX1" fmla="*/ 1952681 w 3509263"/>
              <a:gd name="connsiteY1" fmla="*/ 2501726 h 5013848"/>
              <a:gd name="connsiteX2" fmla="*/ 10689 w 3509263"/>
              <a:gd name="connsiteY2" fmla="*/ 4468615 h 5013848"/>
              <a:gd name="connsiteX3" fmla="*/ 430973 w 3509263"/>
              <a:gd name="connsiteY3" fmla="*/ 4911617 h 5013848"/>
              <a:gd name="connsiteX4" fmla="*/ 771743 w 3509263"/>
              <a:gd name="connsiteY4" fmla="*/ 5013848 h 5013848"/>
              <a:gd name="connsiteX5" fmla="*/ 1135231 w 3509263"/>
              <a:gd name="connsiteY5" fmla="*/ 4888899 h 5013848"/>
              <a:gd name="connsiteX6" fmla="*/ 3509263 w 3509263"/>
              <a:gd name="connsiteY6" fmla="*/ 2514866 h 5013848"/>
              <a:gd name="connsiteX7" fmla="*/ 1117296 w 3509263"/>
              <a:gd name="connsiteY7" fmla="*/ 134923 h 5013848"/>
              <a:gd name="connsiteX8" fmla="*/ 737666 w 3509263"/>
              <a:gd name="connsiteY8" fmla="*/ 4526 h 5013848"/>
              <a:gd name="connsiteX9" fmla="*/ 397553 w 3509263"/>
              <a:gd name="connsiteY9" fmla="*/ 162082 h 5013848"/>
              <a:gd name="connsiteX10" fmla="*/ 0 w 3509263"/>
              <a:gd name="connsiteY10" fmla="*/ 542840 h 5013848"/>
              <a:gd name="connsiteX0" fmla="*/ 0 w 3509263"/>
              <a:gd name="connsiteY0" fmla="*/ 526104 h 4997112"/>
              <a:gd name="connsiteX1" fmla="*/ 1952681 w 3509263"/>
              <a:gd name="connsiteY1" fmla="*/ 2484990 h 4997112"/>
              <a:gd name="connsiteX2" fmla="*/ 10689 w 3509263"/>
              <a:gd name="connsiteY2" fmla="*/ 4451879 h 4997112"/>
              <a:gd name="connsiteX3" fmla="*/ 430973 w 3509263"/>
              <a:gd name="connsiteY3" fmla="*/ 4894881 h 4997112"/>
              <a:gd name="connsiteX4" fmla="*/ 771743 w 3509263"/>
              <a:gd name="connsiteY4" fmla="*/ 4997112 h 4997112"/>
              <a:gd name="connsiteX5" fmla="*/ 1135231 w 3509263"/>
              <a:gd name="connsiteY5" fmla="*/ 4872163 h 4997112"/>
              <a:gd name="connsiteX6" fmla="*/ 3509263 w 3509263"/>
              <a:gd name="connsiteY6" fmla="*/ 2498130 h 4997112"/>
              <a:gd name="connsiteX7" fmla="*/ 1117296 w 3509263"/>
              <a:gd name="connsiteY7" fmla="*/ 118187 h 4997112"/>
              <a:gd name="connsiteX8" fmla="*/ 753426 w 3509263"/>
              <a:gd name="connsiteY8" fmla="*/ 4526 h 4997112"/>
              <a:gd name="connsiteX9" fmla="*/ 397553 w 3509263"/>
              <a:gd name="connsiteY9" fmla="*/ 145346 h 4997112"/>
              <a:gd name="connsiteX10" fmla="*/ 0 w 3509263"/>
              <a:gd name="connsiteY10" fmla="*/ 526104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43621 w 3500203"/>
              <a:gd name="connsiteY1" fmla="*/ 24849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0 w 3500203"/>
              <a:gd name="connsiteY0" fmla="*/ 531610 h 4997112"/>
              <a:gd name="connsiteX1" fmla="*/ 1964742 w 3500203"/>
              <a:gd name="connsiteY1" fmla="*/ 2502390 h 4997112"/>
              <a:gd name="connsiteX2" fmla="*/ 1629 w 3500203"/>
              <a:gd name="connsiteY2" fmla="*/ 4451879 h 4997112"/>
              <a:gd name="connsiteX3" fmla="*/ 421913 w 3500203"/>
              <a:gd name="connsiteY3" fmla="*/ 4894881 h 4997112"/>
              <a:gd name="connsiteX4" fmla="*/ 762683 w 3500203"/>
              <a:gd name="connsiteY4" fmla="*/ 4997112 h 4997112"/>
              <a:gd name="connsiteX5" fmla="*/ 1126171 w 3500203"/>
              <a:gd name="connsiteY5" fmla="*/ 4872163 h 4997112"/>
              <a:gd name="connsiteX6" fmla="*/ 3500203 w 3500203"/>
              <a:gd name="connsiteY6" fmla="*/ 2498130 h 4997112"/>
              <a:gd name="connsiteX7" fmla="*/ 1108236 w 3500203"/>
              <a:gd name="connsiteY7" fmla="*/ 118187 h 4997112"/>
              <a:gd name="connsiteX8" fmla="*/ 744366 w 3500203"/>
              <a:gd name="connsiteY8" fmla="*/ 4526 h 4997112"/>
              <a:gd name="connsiteX9" fmla="*/ 388493 w 3500203"/>
              <a:gd name="connsiteY9" fmla="*/ 145346 h 4997112"/>
              <a:gd name="connsiteX10" fmla="*/ 0 w 3500203"/>
              <a:gd name="connsiteY10" fmla="*/ 531610 h 4997112"/>
              <a:gd name="connsiteX0" fmla="*/ 5110 w 3505313"/>
              <a:gd name="connsiteY0" fmla="*/ 531610 h 4997112"/>
              <a:gd name="connsiteX1" fmla="*/ 1969852 w 3505313"/>
              <a:gd name="connsiteY1" fmla="*/ 2502390 h 4997112"/>
              <a:gd name="connsiteX2" fmla="*/ 0 w 3505313"/>
              <a:gd name="connsiteY2" fmla="*/ 4481321 h 4997112"/>
              <a:gd name="connsiteX3" fmla="*/ 427023 w 3505313"/>
              <a:gd name="connsiteY3" fmla="*/ 4894881 h 4997112"/>
              <a:gd name="connsiteX4" fmla="*/ 767793 w 3505313"/>
              <a:gd name="connsiteY4" fmla="*/ 4997112 h 4997112"/>
              <a:gd name="connsiteX5" fmla="*/ 1131281 w 3505313"/>
              <a:gd name="connsiteY5" fmla="*/ 4872163 h 4997112"/>
              <a:gd name="connsiteX6" fmla="*/ 3505313 w 3505313"/>
              <a:gd name="connsiteY6" fmla="*/ 2498130 h 4997112"/>
              <a:gd name="connsiteX7" fmla="*/ 1113346 w 3505313"/>
              <a:gd name="connsiteY7" fmla="*/ 118187 h 4997112"/>
              <a:gd name="connsiteX8" fmla="*/ 749476 w 3505313"/>
              <a:gd name="connsiteY8" fmla="*/ 4526 h 4997112"/>
              <a:gd name="connsiteX9" fmla="*/ 393603 w 3505313"/>
              <a:gd name="connsiteY9" fmla="*/ 145346 h 4997112"/>
              <a:gd name="connsiteX10" fmla="*/ 5110 w 3505313"/>
              <a:gd name="connsiteY10" fmla="*/ 531610 h 4997112"/>
              <a:gd name="connsiteX0" fmla="*/ 5110 w 3505313"/>
              <a:gd name="connsiteY0" fmla="*/ 531610 h 5288660"/>
              <a:gd name="connsiteX1" fmla="*/ 1969852 w 3505313"/>
              <a:gd name="connsiteY1" fmla="*/ 2502390 h 5288660"/>
              <a:gd name="connsiteX2" fmla="*/ 0 w 3505313"/>
              <a:gd name="connsiteY2" fmla="*/ 4481321 h 5288660"/>
              <a:gd name="connsiteX3" fmla="*/ 427023 w 3505313"/>
              <a:gd name="connsiteY3" fmla="*/ 4894881 h 5288660"/>
              <a:gd name="connsiteX4" fmla="*/ 767793 w 3505313"/>
              <a:gd name="connsiteY4" fmla="*/ 4997112 h 5288660"/>
              <a:gd name="connsiteX5" fmla="*/ 1131281 w 3505313"/>
              <a:gd name="connsiteY5" fmla="*/ 4872163 h 5288660"/>
              <a:gd name="connsiteX6" fmla="*/ 3505313 w 3505313"/>
              <a:gd name="connsiteY6" fmla="*/ 2498130 h 5288660"/>
              <a:gd name="connsiteX7" fmla="*/ 1113346 w 3505313"/>
              <a:gd name="connsiteY7" fmla="*/ 118187 h 5288660"/>
              <a:gd name="connsiteX8" fmla="*/ 749476 w 3505313"/>
              <a:gd name="connsiteY8" fmla="*/ 4526 h 5288660"/>
              <a:gd name="connsiteX9" fmla="*/ 393603 w 3505313"/>
              <a:gd name="connsiteY9" fmla="*/ 145346 h 5288660"/>
              <a:gd name="connsiteX10" fmla="*/ 5110 w 3505313"/>
              <a:gd name="connsiteY10" fmla="*/ 531610 h 5288660"/>
              <a:gd name="connsiteX0" fmla="*/ 5110 w 3505313"/>
              <a:gd name="connsiteY0" fmla="*/ 531610 h 5000898"/>
              <a:gd name="connsiteX1" fmla="*/ 1969852 w 3505313"/>
              <a:gd name="connsiteY1" fmla="*/ 2502390 h 5000898"/>
              <a:gd name="connsiteX2" fmla="*/ 0 w 3505313"/>
              <a:gd name="connsiteY2" fmla="*/ 4481321 h 5000898"/>
              <a:gd name="connsiteX3" fmla="*/ 427023 w 3505313"/>
              <a:gd name="connsiteY3" fmla="*/ 4894881 h 5000898"/>
              <a:gd name="connsiteX4" fmla="*/ 767793 w 3505313"/>
              <a:gd name="connsiteY4" fmla="*/ 4997112 h 5000898"/>
              <a:gd name="connsiteX5" fmla="*/ 1131281 w 3505313"/>
              <a:gd name="connsiteY5" fmla="*/ 4872163 h 5000898"/>
              <a:gd name="connsiteX6" fmla="*/ 3505313 w 3505313"/>
              <a:gd name="connsiteY6" fmla="*/ 2498130 h 5000898"/>
              <a:gd name="connsiteX7" fmla="*/ 1113346 w 3505313"/>
              <a:gd name="connsiteY7" fmla="*/ 118187 h 5000898"/>
              <a:gd name="connsiteX8" fmla="*/ 749476 w 3505313"/>
              <a:gd name="connsiteY8" fmla="*/ 4526 h 5000898"/>
              <a:gd name="connsiteX9" fmla="*/ 393603 w 3505313"/>
              <a:gd name="connsiteY9" fmla="*/ 145346 h 5000898"/>
              <a:gd name="connsiteX10" fmla="*/ 5110 w 3505313"/>
              <a:gd name="connsiteY10" fmla="*/ 531610 h 5000898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31610 h 5007261"/>
              <a:gd name="connsiteX1" fmla="*/ 1969852 w 3505313"/>
              <a:gd name="connsiteY1" fmla="*/ 2502390 h 5007261"/>
              <a:gd name="connsiteX2" fmla="*/ 0 w 3505313"/>
              <a:gd name="connsiteY2" fmla="*/ 4481321 h 5007261"/>
              <a:gd name="connsiteX3" fmla="*/ 427023 w 3505313"/>
              <a:gd name="connsiteY3" fmla="*/ 4894881 h 5007261"/>
              <a:gd name="connsiteX4" fmla="*/ 787503 w 3505313"/>
              <a:gd name="connsiteY4" fmla="*/ 5003475 h 5007261"/>
              <a:gd name="connsiteX5" fmla="*/ 1131281 w 3505313"/>
              <a:gd name="connsiteY5" fmla="*/ 4872163 h 5007261"/>
              <a:gd name="connsiteX6" fmla="*/ 3505313 w 3505313"/>
              <a:gd name="connsiteY6" fmla="*/ 2498130 h 5007261"/>
              <a:gd name="connsiteX7" fmla="*/ 1113346 w 3505313"/>
              <a:gd name="connsiteY7" fmla="*/ 118187 h 5007261"/>
              <a:gd name="connsiteX8" fmla="*/ 749476 w 3505313"/>
              <a:gd name="connsiteY8" fmla="*/ 4526 h 5007261"/>
              <a:gd name="connsiteX9" fmla="*/ 393603 w 3505313"/>
              <a:gd name="connsiteY9" fmla="*/ 145346 h 5007261"/>
              <a:gd name="connsiteX10" fmla="*/ 5110 w 3505313"/>
              <a:gd name="connsiteY10" fmla="*/ 531610 h 5007261"/>
              <a:gd name="connsiteX0" fmla="*/ 5110 w 3505313"/>
              <a:gd name="connsiteY0" fmla="*/ 529652 h 5005303"/>
              <a:gd name="connsiteX1" fmla="*/ 1969852 w 3505313"/>
              <a:gd name="connsiteY1" fmla="*/ 2500432 h 5005303"/>
              <a:gd name="connsiteX2" fmla="*/ 0 w 3505313"/>
              <a:gd name="connsiteY2" fmla="*/ 4479363 h 5005303"/>
              <a:gd name="connsiteX3" fmla="*/ 427023 w 3505313"/>
              <a:gd name="connsiteY3" fmla="*/ 4892923 h 5005303"/>
              <a:gd name="connsiteX4" fmla="*/ 787503 w 3505313"/>
              <a:gd name="connsiteY4" fmla="*/ 5001517 h 5005303"/>
              <a:gd name="connsiteX5" fmla="*/ 1131281 w 3505313"/>
              <a:gd name="connsiteY5" fmla="*/ 4870205 h 5005303"/>
              <a:gd name="connsiteX6" fmla="*/ 3505313 w 3505313"/>
              <a:gd name="connsiteY6" fmla="*/ 2496172 h 5005303"/>
              <a:gd name="connsiteX7" fmla="*/ 1160106 w 3505313"/>
              <a:gd name="connsiteY7" fmla="*/ 158794 h 5005303"/>
              <a:gd name="connsiteX8" fmla="*/ 749476 w 3505313"/>
              <a:gd name="connsiteY8" fmla="*/ 2568 h 5005303"/>
              <a:gd name="connsiteX9" fmla="*/ 393603 w 3505313"/>
              <a:gd name="connsiteY9" fmla="*/ 143388 h 5005303"/>
              <a:gd name="connsiteX10" fmla="*/ 5110 w 3505313"/>
              <a:gd name="connsiteY10" fmla="*/ 529652 h 5005303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416 h 5008067"/>
              <a:gd name="connsiteX1" fmla="*/ 1969852 w 3505313"/>
              <a:gd name="connsiteY1" fmla="*/ 2503196 h 5008067"/>
              <a:gd name="connsiteX2" fmla="*/ 0 w 3505313"/>
              <a:gd name="connsiteY2" fmla="*/ 4482127 h 5008067"/>
              <a:gd name="connsiteX3" fmla="*/ 427023 w 3505313"/>
              <a:gd name="connsiteY3" fmla="*/ 4895687 h 5008067"/>
              <a:gd name="connsiteX4" fmla="*/ 787503 w 3505313"/>
              <a:gd name="connsiteY4" fmla="*/ 5004281 h 5008067"/>
              <a:gd name="connsiteX5" fmla="*/ 1131281 w 3505313"/>
              <a:gd name="connsiteY5" fmla="*/ 4872969 h 5008067"/>
              <a:gd name="connsiteX6" fmla="*/ 3505313 w 3505313"/>
              <a:gd name="connsiteY6" fmla="*/ 2498936 h 5008067"/>
              <a:gd name="connsiteX7" fmla="*/ 1160106 w 3505313"/>
              <a:gd name="connsiteY7" fmla="*/ 161558 h 5008067"/>
              <a:gd name="connsiteX8" fmla="*/ 796836 w 3505313"/>
              <a:gd name="connsiteY8" fmla="*/ 2318 h 5008067"/>
              <a:gd name="connsiteX9" fmla="*/ 393603 w 3505313"/>
              <a:gd name="connsiteY9" fmla="*/ 146152 h 5008067"/>
              <a:gd name="connsiteX10" fmla="*/ 5110 w 3505313"/>
              <a:gd name="connsiteY10" fmla="*/ 532416 h 500806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  <a:gd name="connsiteX0" fmla="*/ 5110 w 3505313"/>
              <a:gd name="connsiteY0" fmla="*/ 532666 h 5008317"/>
              <a:gd name="connsiteX1" fmla="*/ 1969852 w 3505313"/>
              <a:gd name="connsiteY1" fmla="*/ 2503446 h 5008317"/>
              <a:gd name="connsiteX2" fmla="*/ 0 w 3505313"/>
              <a:gd name="connsiteY2" fmla="*/ 4482377 h 5008317"/>
              <a:gd name="connsiteX3" fmla="*/ 427023 w 3505313"/>
              <a:gd name="connsiteY3" fmla="*/ 4895937 h 5008317"/>
              <a:gd name="connsiteX4" fmla="*/ 787503 w 3505313"/>
              <a:gd name="connsiteY4" fmla="*/ 5004531 h 5008317"/>
              <a:gd name="connsiteX5" fmla="*/ 1131281 w 3505313"/>
              <a:gd name="connsiteY5" fmla="*/ 4873219 h 5008317"/>
              <a:gd name="connsiteX6" fmla="*/ 3505313 w 3505313"/>
              <a:gd name="connsiteY6" fmla="*/ 2499186 h 5008317"/>
              <a:gd name="connsiteX7" fmla="*/ 1160106 w 3505313"/>
              <a:gd name="connsiteY7" fmla="*/ 161808 h 5008317"/>
              <a:gd name="connsiteX8" fmla="*/ 796836 w 3505313"/>
              <a:gd name="connsiteY8" fmla="*/ 2568 h 5008317"/>
              <a:gd name="connsiteX9" fmla="*/ 393603 w 3505313"/>
              <a:gd name="connsiteY9" fmla="*/ 146402 h 5008317"/>
              <a:gd name="connsiteX10" fmla="*/ 5110 w 3505313"/>
              <a:gd name="connsiteY10" fmla="*/ 532666 h 5008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05313" h="5008317">
                <a:moveTo>
                  <a:pt x="5110" y="532666"/>
                </a:moveTo>
                <a:lnTo>
                  <a:pt x="1969852" y="2503446"/>
                </a:lnTo>
                <a:lnTo>
                  <a:pt x="0" y="4482377"/>
                </a:lnTo>
                <a:lnTo>
                  <a:pt x="427023" y="4895937"/>
                </a:lnTo>
                <a:cubicBezTo>
                  <a:pt x="510281" y="4969426"/>
                  <a:pt x="670127" y="5008317"/>
                  <a:pt x="787503" y="5004531"/>
                </a:cubicBezTo>
                <a:cubicBezTo>
                  <a:pt x="904879" y="5000745"/>
                  <a:pt x="1004011" y="4978861"/>
                  <a:pt x="1131281" y="4873219"/>
                </a:cubicBezTo>
                <a:lnTo>
                  <a:pt x="3505313" y="2499186"/>
                </a:lnTo>
                <a:lnTo>
                  <a:pt x="1160106" y="161808"/>
                </a:lnTo>
                <a:cubicBezTo>
                  <a:pt x="1068649" y="89635"/>
                  <a:pt x="968345" y="5136"/>
                  <a:pt x="796836" y="2568"/>
                </a:cubicBezTo>
                <a:cubicBezTo>
                  <a:pt x="625327" y="0"/>
                  <a:pt x="475789" y="68559"/>
                  <a:pt x="393603" y="146402"/>
                </a:cubicBezTo>
                <a:lnTo>
                  <a:pt x="5110" y="532666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Freeform 11"/>
          <p:cNvSpPr/>
          <p:nvPr userDrawn="1"/>
        </p:nvSpPr>
        <p:spPr>
          <a:xfrm>
            <a:off x="0" y="0"/>
            <a:ext cx="4497152" cy="5144805"/>
          </a:xfrm>
          <a:custGeom>
            <a:avLst/>
            <a:gdLst>
              <a:gd name="connsiteX0" fmla="*/ 0 w 1134016"/>
              <a:gd name="connsiteY0" fmla="*/ 1408203 h 1410865"/>
              <a:gd name="connsiteX1" fmla="*/ 716080 w 1134016"/>
              <a:gd name="connsiteY1" fmla="*/ 1410865 h 1410865"/>
              <a:gd name="connsiteX2" fmla="*/ 1027535 w 1134016"/>
              <a:gd name="connsiteY2" fmla="*/ 1096747 h 1410865"/>
              <a:gd name="connsiteX3" fmla="*/ 1134016 w 1134016"/>
              <a:gd name="connsiteY3" fmla="*/ 894435 h 1410865"/>
              <a:gd name="connsiteX4" fmla="*/ 1128692 w 1134016"/>
              <a:gd name="connsiteY4" fmla="*/ 0 h 1410865"/>
              <a:gd name="connsiteX5" fmla="*/ 39930 w 1134016"/>
              <a:gd name="connsiteY5" fmla="*/ 0 h 1410865"/>
              <a:gd name="connsiteX6" fmla="*/ 0 w 1134016"/>
              <a:gd name="connsiteY6" fmla="*/ 1408203 h 1410865"/>
              <a:gd name="connsiteX0" fmla="*/ 0 w 5993513"/>
              <a:gd name="connsiteY0" fmla="*/ 1409125 h 1410865"/>
              <a:gd name="connsiteX1" fmla="*/ 5575577 w 5993513"/>
              <a:gd name="connsiteY1" fmla="*/ 1410865 h 1410865"/>
              <a:gd name="connsiteX2" fmla="*/ 5887032 w 5993513"/>
              <a:gd name="connsiteY2" fmla="*/ 1096747 h 1410865"/>
              <a:gd name="connsiteX3" fmla="*/ 5993513 w 5993513"/>
              <a:gd name="connsiteY3" fmla="*/ 894435 h 1410865"/>
              <a:gd name="connsiteX4" fmla="*/ 5988189 w 5993513"/>
              <a:gd name="connsiteY4" fmla="*/ 0 h 1410865"/>
              <a:gd name="connsiteX5" fmla="*/ 4899427 w 5993513"/>
              <a:gd name="connsiteY5" fmla="*/ 0 h 1410865"/>
              <a:gd name="connsiteX6" fmla="*/ 0 w 5993513"/>
              <a:gd name="connsiteY6" fmla="*/ 1409125 h 1410865"/>
              <a:gd name="connsiteX0" fmla="*/ 0 w 5993513"/>
              <a:gd name="connsiteY0" fmla="*/ 6859588 h 6861328"/>
              <a:gd name="connsiteX1" fmla="*/ 5575577 w 5993513"/>
              <a:gd name="connsiteY1" fmla="*/ 6861328 h 6861328"/>
              <a:gd name="connsiteX2" fmla="*/ 5887032 w 5993513"/>
              <a:gd name="connsiteY2" fmla="*/ 6547210 h 6861328"/>
              <a:gd name="connsiteX3" fmla="*/ 5993513 w 5993513"/>
              <a:gd name="connsiteY3" fmla="*/ 6344898 h 6861328"/>
              <a:gd name="connsiteX4" fmla="*/ 5988189 w 5993513"/>
              <a:gd name="connsiteY4" fmla="*/ 5450463 h 6861328"/>
              <a:gd name="connsiteX5" fmla="*/ 1 w 5993513"/>
              <a:gd name="connsiteY5" fmla="*/ 0 h 6861328"/>
              <a:gd name="connsiteX6" fmla="*/ 0 w 5993513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97764" h="6861328">
                <a:moveTo>
                  <a:pt x="0" y="6859588"/>
                </a:moveTo>
                <a:lnTo>
                  <a:pt x="5575577" y="6861328"/>
                </a:lnTo>
                <a:lnTo>
                  <a:pt x="5887032" y="6547210"/>
                </a:lnTo>
                <a:cubicBezTo>
                  <a:pt x="5953972" y="6480608"/>
                  <a:pt x="5993452" y="6394128"/>
                  <a:pt x="5993513" y="6344898"/>
                </a:cubicBezTo>
                <a:cubicBezTo>
                  <a:pt x="5991738" y="6046753"/>
                  <a:pt x="5997764" y="298145"/>
                  <a:pt x="5995989" y="0"/>
                </a:cubicBezTo>
                <a:lnTo>
                  <a:pt x="1" y="0"/>
                </a:lnTo>
                <a:cubicBezTo>
                  <a:pt x="1" y="2286529"/>
                  <a:pt x="0" y="4573059"/>
                  <a:pt x="0" y="6859588"/>
                </a:cubicBez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GB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Freeform 13"/>
          <p:cNvSpPr/>
          <p:nvPr userDrawn="1"/>
        </p:nvSpPr>
        <p:spPr>
          <a:xfrm>
            <a:off x="0" y="0"/>
            <a:ext cx="3944202" cy="5144805"/>
          </a:xfrm>
          <a:custGeom>
            <a:avLst/>
            <a:gdLst>
              <a:gd name="connsiteX0" fmla="*/ 0 w 1134016"/>
              <a:gd name="connsiteY0" fmla="*/ 1408203 h 1410865"/>
              <a:gd name="connsiteX1" fmla="*/ 716080 w 1134016"/>
              <a:gd name="connsiteY1" fmla="*/ 1410865 h 1410865"/>
              <a:gd name="connsiteX2" fmla="*/ 1027535 w 1134016"/>
              <a:gd name="connsiteY2" fmla="*/ 1096747 h 1410865"/>
              <a:gd name="connsiteX3" fmla="*/ 1134016 w 1134016"/>
              <a:gd name="connsiteY3" fmla="*/ 894435 h 1410865"/>
              <a:gd name="connsiteX4" fmla="*/ 1128692 w 1134016"/>
              <a:gd name="connsiteY4" fmla="*/ 0 h 1410865"/>
              <a:gd name="connsiteX5" fmla="*/ 39930 w 1134016"/>
              <a:gd name="connsiteY5" fmla="*/ 0 h 1410865"/>
              <a:gd name="connsiteX6" fmla="*/ 0 w 1134016"/>
              <a:gd name="connsiteY6" fmla="*/ 1408203 h 1410865"/>
              <a:gd name="connsiteX0" fmla="*/ 0 w 5993513"/>
              <a:gd name="connsiteY0" fmla="*/ 1409125 h 1410865"/>
              <a:gd name="connsiteX1" fmla="*/ 5575577 w 5993513"/>
              <a:gd name="connsiteY1" fmla="*/ 1410865 h 1410865"/>
              <a:gd name="connsiteX2" fmla="*/ 5887032 w 5993513"/>
              <a:gd name="connsiteY2" fmla="*/ 1096747 h 1410865"/>
              <a:gd name="connsiteX3" fmla="*/ 5993513 w 5993513"/>
              <a:gd name="connsiteY3" fmla="*/ 894435 h 1410865"/>
              <a:gd name="connsiteX4" fmla="*/ 5988189 w 5993513"/>
              <a:gd name="connsiteY4" fmla="*/ 0 h 1410865"/>
              <a:gd name="connsiteX5" fmla="*/ 4899427 w 5993513"/>
              <a:gd name="connsiteY5" fmla="*/ 0 h 1410865"/>
              <a:gd name="connsiteX6" fmla="*/ 0 w 5993513"/>
              <a:gd name="connsiteY6" fmla="*/ 1409125 h 1410865"/>
              <a:gd name="connsiteX0" fmla="*/ 0 w 5993513"/>
              <a:gd name="connsiteY0" fmla="*/ 6859588 h 6861328"/>
              <a:gd name="connsiteX1" fmla="*/ 5575577 w 5993513"/>
              <a:gd name="connsiteY1" fmla="*/ 6861328 h 6861328"/>
              <a:gd name="connsiteX2" fmla="*/ 5887032 w 5993513"/>
              <a:gd name="connsiteY2" fmla="*/ 6547210 h 6861328"/>
              <a:gd name="connsiteX3" fmla="*/ 5993513 w 5993513"/>
              <a:gd name="connsiteY3" fmla="*/ 6344898 h 6861328"/>
              <a:gd name="connsiteX4" fmla="*/ 5988189 w 5993513"/>
              <a:gd name="connsiteY4" fmla="*/ 5450463 h 6861328"/>
              <a:gd name="connsiteX5" fmla="*/ 1 w 5993513"/>
              <a:gd name="connsiteY5" fmla="*/ 0 h 6861328"/>
              <a:gd name="connsiteX6" fmla="*/ 0 w 5993513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737458 w 5997764"/>
              <a:gd name="connsiteY5" fmla="*/ 0 h 6861328"/>
              <a:gd name="connsiteX6" fmla="*/ 0 w 5997764"/>
              <a:gd name="connsiteY6" fmla="*/ 6859588 h 6861328"/>
              <a:gd name="connsiteX0" fmla="*/ 0 w 5260306"/>
              <a:gd name="connsiteY0" fmla="*/ 6859588 h 6861328"/>
              <a:gd name="connsiteX1" fmla="*/ 4838119 w 5260306"/>
              <a:gd name="connsiteY1" fmla="*/ 6861328 h 6861328"/>
              <a:gd name="connsiteX2" fmla="*/ 5149574 w 5260306"/>
              <a:gd name="connsiteY2" fmla="*/ 6547210 h 6861328"/>
              <a:gd name="connsiteX3" fmla="*/ 5256055 w 5260306"/>
              <a:gd name="connsiteY3" fmla="*/ 6344898 h 6861328"/>
              <a:gd name="connsiteX4" fmla="*/ 5258531 w 5260306"/>
              <a:gd name="connsiteY4" fmla="*/ 0 h 6861328"/>
              <a:gd name="connsiteX5" fmla="*/ 0 w 5260306"/>
              <a:gd name="connsiteY5" fmla="*/ 0 h 6861328"/>
              <a:gd name="connsiteX6" fmla="*/ 0 w 5260306"/>
              <a:gd name="connsiteY6" fmla="*/ 6859588 h 686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0306" h="6861328">
                <a:moveTo>
                  <a:pt x="0" y="6859588"/>
                </a:moveTo>
                <a:lnTo>
                  <a:pt x="4838119" y="6861328"/>
                </a:lnTo>
                <a:lnTo>
                  <a:pt x="5149574" y="6547210"/>
                </a:lnTo>
                <a:cubicBezTo>
                  <a:pt x="5216514" y="6480608"/>
                  <a:pt x="5255994" y="6394128"/>
                  <a:pt x="5256055" y="6344898"/>
                </a:cubicBezTo>
                <a:cubicBezTo>
                  <a:pt x="5254280" y="6046753"/>
                  <a:pt x="5260306" y="298145"/>
                  <a:pt x="5258531" y="0"/>
                </a:cubicBezTo>
                <a:lnTo>
                  <a:pt x="0" y="0"/>
                </a:lnTo>
                <a:lnTo>
                  <a:pt x="0" y="6859588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GB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itle 12">
            <a:extLst>
              <a:ext uri="{FF2B5EF4-FFF2-40B4-BE49-F238E27FC236}">
                <a16:creationId xmlns:a16="http://schemas.microsoft.com/office/drawing/2014/main" id="{E027FD55-6B36-9B2F-C595-E57ECFBA3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645" y="1059933"/>
            <a:ext cx="2753589" cy="600025"/>
          </a:xfrm>
        </p:spPr>
        <p:txBody>
          <a:bodyPr wrap="square" anchor="b">
            <a:spAutoFit/>
          </a:bodyPr>
          <a:lstStyle>
            <a:lvl1pPr algn="l">
              <a:lnSpc>
                <a:spcPct val="100000"/>
              </a:lnSpc>
              <a:defRPr sz="1949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F66A6EE-2C83-B3C2-5277-EE7A80C7EA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2645" y="1742035"/>
            <a:ext cx="2753589" cy="172483"/>
          </a:xfrm>
        </p:spPr>
        <p:txBody>
          <a:bodyPr wrap="square">
            <a:spAutoFit/>
          </a:bodyPr>
          <a:lstStyle>
            <a:lvl1pPr marL="0" marR="0" indent="0" algn="l" defTabSz="816364" rtl="0" eaLnBrk="1" fontAlgn="base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C3428DE3-779E-AA7F-8AFF-E1B9201879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2347" y="2119989"/>
            <a:ext cx="2754389" cy="248370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T"/>
          </a:p>
        </p:txBody>
      </p:sp>
      <p:sp>
        <p:nvSpPr>
          <p:cNvPr id="9" name="Slide Number Placeholder 109">
            <a:extLst>
              <a:ext uri="{FF2B5EF4-FFF2-40B4-BE49-F238E27FC236}">
                <a16:creationId xmlns:a16="http://schemas.microsoft.com/office/drawing/2014/main" id="{616860A7-EE66-5676-E646-33FE91ADD76B}"/>
              </a:ext>
            </a:extLst>
          </p:cNvPr>
          <p:cNvSpPr txBox="1">
            <a:spLocks/>
          </p:cNvSpPr>
          <p:nvPr userDrawn="1"/>
        </p:nvSpPr>
        <p:spPr>
          <a:xfrm>
            <a:off x="8567403" y="4839477"/>
            <a:ext cx="195267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400">
                <a:solidFill>
                  <a:srgbClr val="FF0000"/>
                </a:solidFill>
                <a:latin typeface="+mn-lt"/>
              </a:defRPr>
            </a:lvl1pPr>
          </a:lstStyle>
          <a:p>
            <a:pPr marL="0" marR="0" lvl="0" indent="0" algn="r" defTabSz="6856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B8A8675-40C0-40D2-8FCE-EA4A25F48F18}" type="slidenum">
              <a:rPr kumimoji="0" lang="en-GB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61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1" name="Picture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98C11396-CA4F-6F77-6180-66D54A903B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0" y="88049"/>
            <a:ext cx="1241815" cy="45980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430C807-28E5-5B55-C99A-3C55C091316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8099361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 with banner">
    <p:bg>
      <p:bgPr>
        <a:solidFill>
          <a:srgbClr val="F8F6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 userDrawn="1"/>
        </p:nvSpPr>
        <p:spPr>
          <a:xfrm rot="16200000">
            <a:off x="2344006" y="-1662027"/>
            <a:ext cx="4465011" cy="9153021"/>
          </a:xfrm>
          <a:custGeom>
            <a:avLst/>
            <a:gdLst>
              <a:gd name="connsiteX0" fmla="*/ 0 w 1134016"/>
              <a:gd name="connsiteY0" fmla="*/ 1408203 h 1410865"/>
              <a:gd name="connsiteX1" fmla="*/ 716080 w 1134016"/>
              <a:gd name="connsiteY1" fmla="*/ 1410865 h 1410865"/>
              <a:gd name="connsiteX2" fmla="*/ 1027535 w 1134016"/>
              <a:gd name="connsiteY2" fmla="*/ 1096747 h 1410865"/>
              <a:gd name="connsiteX3" fmla="*/ 1134016 w 1134016"/>
              <a:gd name="connsiteY3" fmla="*/ 894435 h 1410865"/>
              <a:gd name="connsiteX4" fmla="*/ 1128692 w 1134016"/>
              <a:gd name="connsiteY4" fmla="*/ 0 h 1410865"/>
              <a:gd name="connsiteX5" fmla="*/ 39930 w 1134016"/>
              <a:gd name="connsiteY5" fmla="*/ 0 h 1410865"/>
              <a:gd name="connsiteX6" fmla="*/ 0 w 1134016"/>
              <a:gd name="connsiteY6" fmla="*/ 1408203 h 1410865"/>
              <a:gd name="connsiteX0" fmla="*/ 0 w 5993513"/>
              <a:gd name="connsiteY0" fmla="*/ 1409125 h 1410865"/>
              <a:gd name="connsiteX1" fmla="*/ 5575577 w 5993513"/>
              <a:gd name="connsiteY1" fmla="*/ 1410865 h 1410865"/>
              <a:gd name="connsiteX2" fmla="*/ 5887032 w 5993513"/>
              <a:gd name="connsiteY2" fmla="*/ 1096747 h 1410865"/>
              <a:gd name="connsiteX3" fmla="*/ 5993513 w 5993513"/>
              <a:gd name="connsiteY3" fmla="*/ 894435 h 1410865"/>
              <a:gd name="connsiteX4" fmla="*/ 5988189 w 5993513"/>
              <a:gd name="connsiteY4" fmla="*/ 0 h 1410865"/>
              <a:gd name="connsiteX5" fmla="*/ 4899427 w 5993513"/>
              <a:gd name="connsiteY5" fmla="*/ 0 h 1410865"/>
              <a:gd name="connsiteX6" fmla="*/ 0 w 5993513"/>
              <a:gd name="connsiteY6" fmla="*/ 1409125 h 1410865"/>
              <a:gd name="connsiteX0" fmla="*/ 0 w 5993513"/>
              <a:gd name="connsiteY0" fmla="*/ 6859588 h 6861328"/>
              <a:gd name="connsiteX1" fmla="*/ 5575577 w 5993513"/>
              <a:gd name="connsiteY1" fmla="*/ 6861328 h 6861328"/>
              <a:gd name="connsiteX2" fmla="*/ 5887032 w 5993513"/>
              <a:gd name="connsiteY2" fmla="*/ 6547210 h 6861328"/>
              <a:gd name="connsiteX3" fmla="*/ 5993513 w 5993513"/>
              <a:gd name="connsiteY3" fmla="*/ 6344898 h 6861328"/>
              <a:gd name="connsiteX4" fmla="*/ 5988189 w 5993513"/>
              <a:gd name="connsiteY4" fmla="*/ 5450463 h 6861328"/>
              <a:gd name="connsiteX5" fmla="*/ 1 w 5993513"/>
              <a:gd name="connsiteY5" fmla="*/ 0 h 6861328"/>
              <a:gd name="connsiteX6" fmla="*/ 0 w 5993513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3513"/>
              <a:gd name="connsiteY0" fmla="*/ 12219678 h 12221418"/>
              <a:gd name="connsiteX1" fmla="*/ 5575577 w 5993513"/>
              <a:gd name="connsiteY1" fmla="*/ 12221418 h 12221418"/>
              <a:gd name="connsiteX2" fmla="*/ 5887032 w 5993513"/>
              <a:gd name="connsiteY2" fmla="*/ 11907300 h 12221418"/>
              <a:gd name="connsiteX3" fmla="*/ 5993513 w 5993513"/>
              <a:gd name="connsiteY3" fmla="*/ 11704988 h 12221418"/>
              <a:gd name="connsiteX4" fmla="*/ 5987780 w 5993513"/>
              <a:gd name="connsiteY4" fmla="*/ 0 h 12221418"/>
              <a:gd name="connsiteX5" fmla="*/ 1 w 5993513"/>
              <a:gd name="connsiteY5" fmla="*/ 5360090 h 12221418"/>
              <a:gd name="connsiteX6" fmla="*/ 0 w 5993513"/>
              <a:gd name="connsiteY6" fmla="*/ 12219678 h 12221418"/>
              <a:gd name="connsiteX0" fmla="*/ 3542284 w 5993512"/>
              <a:gd name="connsiteY0" fmla="*/ 12215762 h 12221418"/>
              <a:gd name="connsiteX1" fmla="*/ 5575576 w 5993512"/>
              <a:gd name="connsiteY1" fmla="*/ 12221418 h 12221418"/>
              <a:gd name="connsiteX2" fmla="*/ 5887031 w 5993512"/>
              <a:gd name="connsiteY2" fmla="*/ 11907300 h 12221418"/>
              <a:gd name="connsiteX3" fmla="*/ 5993512 w 5993512"/>
              <a:gd name="connsiteY3" fmla="*/ 11704988 h 12221418"/>
              <a:gd name="connsiteX4" fmla="*/ 5987779 w 5993512"/>
              <a:gd name="connsiteY4" fmla="*/ 0 h 12221418"/>
              <a:gd name="connsiteX5" fmla="*/ 0 w 5993512"/>
              <a:gd name="connsiteY5" fmla="*/ 5360090 h 12221418"/>
              <a:gd name="connsiteX6" fmla="*/ 3542284 w 5993512"/>
              <a:gd name="connsiteY6" fmla="*/ 12215762 h 12221418"/>
              <a:gd name="connsiteX0" fmla="*/ 0 w 2451228"/>
              <a:gd name="connsiteY0" fmla="*/ 12215762 h 12221418"/>
              <a:gd name="connsiteX1" fmla="*/ 2033292 w 2451228"/>
              <a:gd name="connsiteY1" fmla="*/ 12221418 h 12221418"/>
              <a:gd name="connsiteX2" fmla="*/ 2344747 w 2451228"/>
              <a:gd name="connsiteY2" fmla="*/ 11907300 h 12221418"/>
              <a:gd name="connsiteX3" fmla="*/ 2451228 w 2451228"/>
              <a:gd name="connsiteY3" fmla="*/ 11704988 h 12221418"/>
              <a:gd name="connsiteX4" fmla="*/ 2445495 w 2451228"/>
              <a:gd name="connsiteY4" fmla="*/ 0 h 12221418"/>
              <a:gd name="connsiteX5" fmla="*/ 0 w 2451228"/>
              <a:gd name="connsiteY5" fmla="*/ 20584 h 12221418"/>
              <a:gd name="connsiteX6" fmla="*/ 0 w 2451228"/>
              <a:gd name="connsiteY6" fmla="*/ 12215762 h 12221418"/>
              <a:gd name="connsiteX0" fmla="*/ 0 w 2451228"/>
              <a:gd name="connsiteY0" fmla="*/ 12202114 h 12207770"/>
              <a:gd name="connsiteX1" fmla="*/ 2033292 w 2451228"/>
              <a:gd name="connsiteY1" fmla="*/ 12207770 h 12207770"/>
              <a:gd name="connsiteX2" fmla="*/ 2344747 w 2451228"/>
              <a:gd name="connsiteY2" fmla="*/ 11893652 h 12207770"/>
              <a:gd name="connsiteX3" fmla="*/ 2451228 w 2451228"/>
              <a:gd name="connsiteY3" fmla="*/ 11691340 h 12207770"/>
              <a:gd name="connsiteX4" fmla="*/ 2441055 w 2451228"/>
              <a:gd name="connsiteY4" fmla="*/ 0 h 12207770"/>
              <a:gd name="connsiteX5" fmla="*/ 0 w 2451228"/>
              <a:gd name="connsiteY5" fmla="*/ 6936 h 12207770"/>
              <a:gd name="connsiteX6" fmla="*/ 0 w 2451228"/>
              <a:gd name="connsiteY6" fmla="*/ 12202114 h 12207770"/>
              <a:gd name="connsiteX0" fmla="*/ 0 w 2451228"/>
              <a:gd name="connsiteY0" fmla="*/ 12195178 h 12200834"/>
              <a:gd name="connsiteX1" fmla="*/ 2033292 w 2451228"/>
              <a:gd name="connsiteY1" fmla="*/ 12200834 h 12200834"/>
              <a:gd name="connsiteX2" fmla="*/ 2344747 w 2451228"/>
              <a:gd name="connsiteY2" fmla="*/ 11886716 h 12200834"/>
              <a:gd name="connsiteX3" fmla="*/ 2451228 w 2451228"/>
              <a:gd name="connsiteY3" fmla="*/ 11684404 h 12200834"/>
              <a:gd name="connsiteX4" fmla="*/ 2439518 w 2451228"/>
              <a:gd name="connsiteY4" fmla="*/ 1656 h 12200834"/>
              <a:gd name="connsiteX5" fmla="*/ 0 w 2451228"/>
              <a:gd name="connsiteY5" fmla="*/ 0 h 12200834"/>
              <a:gd name="connsiteX6" fmla="*/ 0 w 2451228"/>
              <a:gd name="connsiteY6" fmla="*/ 12195178 h 12200834"/>
              <a:gd name="connsiteX0" fmla="*/ 0 w 2451228"/>
              <a:gd name="connsiteY0" fmla="*/ 12195178 h 12195178"/>
              <a:gd name="connsiteX1" fmla="*/ 2018671 w 2451228"/>
              <a:gd name="connsiteY1" fmla="*/ 12192340 h 12195178"/>
              <a:gd name="connsiteX2" fmla="*/ 2344747 w 2451228"/>
              <a:gd name="connsiteY2" fmla="*/ 11886716 h 12195178"/>
              <a:gd name="connsiteX3" fmla="*/ 2451228 w 2451228"/>
              <a:gd name="connsiteY3" fmla="*/ 11684404 h 12195178"/>
              <a:gd name="connsiteX4" fmla="*/ 2439518 w 2451228"/>
              <a:gd name="connsiteY4" fmla="*/ 1656 h 12195178"/>
              <a:gd name="connsiteX5" fmla="*/ 0 w 2451228"/>
              <a:gd name="connsiteY5" fmla="*/ 0 h 12195178"/>
              <a:gd name="connsiteX6" fmla="*/ 0 w 2451228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44747 w 2444782"/>
              <a:gd name="connsiteY2" fmla="*/ 1188671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14573 w 2444782"/>
              <a:gd name="connsiteY2" fmla="*/ 1189850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14573 w 2444782"/>
              <a:gd name="connsiteY2" fmla="*/ 1189850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14573 w 2444782"/>
              <a:gd name="connsiteY2" fmla="*/ 1189850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4956105"/>
              <a:gd name="connsiteY0" fmla="*/ 12195175 h 12195175"/>
              <a:gd name="connsiteX1" fmla="*/ 4529994 w 4956105"/>
              <a:gd name="connsiteY1" fmla="*/ 12192340 h 12195175"/>
              <a:gd name="connsiteX2" fmla="*/ 4825896 w 4956105"/>
              <a:gd name="connsiteY2" fmla="*/ 11898506 h 12195175"/>
              <a:gd name="connsiteX3" fmla="*/ 4956105 w 4956105"/>
              <a:gd name="connsiteY3" fmla="*/ 11651193 h 12195175"/>
              <a:gd name="connsiteX4" fmla="*/ 4950841 w 4956105"/>
              <a:gd name="connsiteY4" fmla="*/ 1656 h 12195175"/>
              <a:gd name="connsiteX5" fmla="*/ 2511323 w 4956105"/>
              <a:gd name="connsiteY5" fmla="*/ 0 h 12195175"/>
              <a:gd name="connsiteX6" fmla="*/ 0 w 4956105"/>
              <a:gd name="connsiteY6" fmla="*/ 12195175 h 12195175"/>
              <a:gd name="connsiteX0" fmla="*/ 0 w 4956105"/>
              <a:gd name="connsiteY0" fmla="*/ 12195174 h 12195174"/>
              <a:gd name="connsiteX1" fmla="*/ 4529994 w 4956105"/>
              <a:gd name="connsiteY1" fmla="*/ 12192339 h 12195174"/>
              <a:gd name="connsiteX2" fmla="*/ 4825896 w 4956105"/>
              <a:gd name="connsiteY2" fmla="*/ 11898505 h 12195174"/>
              <a:gd name="connsiteX3" fmla="*/ 4956105 w 4956105"/>
              <a:gd name="connsiteY3" fmla="*/ 11651192 h 12195174"/>
              <a:gd name="connsiteX4" fmla="*/ 4950841 w 4956105"/>
              <a:gd name="connsiteY4" fmla="*/ 1655 h 12195174"/>
              <a:gd name="connsiteX5" fmla="*/ 0 w 4956105"/>
              <a:gd name="connsiteY5" fmla="*/ 0 h 12195174"/>
              <a:gd name="connsiteX6" fmla="*/ 0 w 4956105"/>
              <a:gd name="connsiteY6" fmla="*/ 12195174 h 12195174"/>
              <a:gd name="connsiteX0" fmla="*/ 998621 w 5954726"/>
              <a:gd name="connsiteY0" fmla="*/ 12195174 h 12195174"/>
              <a:gd name="connsiteX1" fmla="*/ 5528615 w 5954726"/>
              <a:gd name="connsiteY1" fmla="*/ 12192339 h 12195174"/>
              <a:gd name="connsiteX2" fmla="*/ 5824517 w 5954726"/>
              <a:gd name="connsiteY2" fmla="*/ 11898505 h 12195174"/>
              <a:gd name="connsiteX3" fmla="*/ 5954726 w 5954726"/>
              <a:gd name="connsiteY3" fmla="*/ 11651192 h 12195174"/>
              <a:gd name="connsiteX4" fmla="*/ 5949462 w 5954726"/>
              <a:gd name="connsiteY4" fmla="*/ 1655 h 12195174"/>
              <a:gd name="connsiteX5" fmla="*/ 0 w 5954726"/>
              <a:gd name="connsiteY5" fmla="*/ 0 h 12195174"/>
              <a:gd name="connsiteX6" fmla="*/ 998621 w 5954726"/>
              <a:gd name="connsiteY6" fmla="*/ 12195174 h 12195174"/>
              <a:gd name="connsiteX0" fmla="*/ 0 w 5954726"/>
              <a:gd name="connsiteY0" fmla="*/ 12207206 h 12207206"/>
              <a:gd name="connsiteX1" fmla="*/ 5528615 w 5954726"/>
              <a:gd name="connsiteY1" fmla="*/ 12192339 h 12207206"/>
              <a:gd name="connsiteX2" fmla="*/ 5824517 w 5954726"/>
              <a:gd name="connsiteY2" fmla="*/ 11898505 h 12207206"/>
              <a:gd name="connsiteX3" fmla="*/ 5954726 w 5954726"/>
              <a:gd name="connsiteY3" fmla="*/ 11651192 h 12207206"/>
              <a:gd name="connsiteX4" fmla="*/ 5949462 w 5954726"/>
              <a:gd name="connsiteY4" fmla="*/ 1655 h 12207206"/>
              <a:gd name="connsiteX5" fmla="*/ 0 w 5954726"/>
              <a:gd name="connsiteY5" fmla="*/ 0 h 12207206"/>
              <a:gd name="connsiteX6" fmla="*/ 0 w 5954726"/>
              <a:gd name="connsiteY6" fmla="*/ 12207206 h 12207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4726" h="12207206">
                <a:moveTo>
                  <a:pt x="0" y="12207206"/>
                </a:moveTo>
                <a:lnTo>
                  <a:pt x="5528615" y="12192339"/>
                </a:lnTo>
                <a:lnTo>
                  <a:pt x="5824517" y="11898505"/>
                </a:lnTo>
                <a:cubicBezTo>
                  <a:pt x="5925107" y="11801962"/>
                  <a:pt x="5945764" y="11762947"/>
                  <a:pt x="5954726" y="11651192"/>
                </a:cubicBezTo>
                <a:cubicBezTo>
                  <a:pt x="5952951" y="11353047"/>
                  <a:pt x="5951237" y="299800"/>
                  <a:pt x="5949462" y="1655"/>
                </a:cubicBezTo>
                <a:lnTo>
                  <a:pt x="0" y="0"/>
                </a:lnTo>
                <a:lnTo>
                  <a:pt x="0" y="12207206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GB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109">
            <a:extLst>
              <a:ext uri="{FF2B5EF4-FFF2-40B4-BE49-F238E27FC236}">
                <a16:creationId xmlns:a16="http://schemas.microsoft.com/office/drawing/2014/main" id="{494782E4-17B8-06A6-9E3E-12CBE12D302B}"/>
              </a:ext>
            </a:extLst>
          </p:cNvPr>
          <p:cNvSpPr txBox="1">
            <a:spLocks/>
          </p:cNvSpPr>
          <p:nvPr userDrawn="1"/>
        </p:nvSpPr>
        <p:spPr>
          <a:xfrm>
            <a:off x="8567403" y="4839477"/>
            <a:ext cx="19526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400">
                <a:solidFill>
                  <a:srgbClr val="FF0000"/>
                </a:solidFill>
                <a:latin typeface="+mn-lt"/>
              </a:defRPr>
            </a:lvl1pPr>
          </a:lstStyle>
          <a:p>
            <a:pPr marL="0" marR="0" lvl="0" indent="0" algn="r" defTabSz="6856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B8A8675-40C0-40D2-8FCE-EA4A25F48F18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61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32A395ED-0449-05FA-83A9-A0D83E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637" y="829099"/>
            <a:ext cx="8484566" cy="230833"/>
          </a:xfrm>
        </p:spPr>
        <p:txBody>
          <a:bodyPr/>
          <a:lstStyle/>
          <a:p>
            <a:endParaRPr lang="en-GB"/>
          </a:p>
        </p:txBody>
      </p:sp>
      <p:pic>
        <p:nvPicPr>
          <p:cNvPr id="2" name="Picture 1" descr="Logo&#10;&#10;Description automatically generated with medium confidence">
            <a:extLst>
              <a:ext uri="{FF2B5EF4-FFF2-40B4-BE49-F238E27FC236}">
                <a16:creationId xmlns:a16="http://schemas.microsoft.com/office/drawing/2014/main" id="{4A86E9AE-4F13-A834-D062-E9B29C06CE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0" y="88049"/>
            <a:ext cx="1241815" cy="459805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C2F6293-93D6-1294-6900-99CC7F7A1F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269632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 for lots of content">
    <p:bg>
      <p:bgPr>
        <a:solidFill>
          <a:srgbClr val="F8F6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 userDrawn="1"/>
        </p:nvSpPr>
        <p:spPr>
          <a:xfrm rot="16200000">
            <a:off x="2344006" y="-1662027"/>
            <a:ext cx="4465011" cy="9153021"/>
          </a:xfrm>
          <a:custGeom>
            <a:avLst/>
            <a:gdLst>
              <a:gd name="connsiteX0" fmla="*/ 0 w 1134016"/>
              <a:gd name="connsiteY0" fmla="*/ 1408203 h 1410865"/>
              <a:gd name="connsiteX1" fmla="*/ 716080 w 1134016"/>
              <a:gd name="connsiteY1" fmla="*/ 1410865 h 1410865"/>
              <a:gd name="connsiteX2" fmla="*/ 1027535 w 1134016"/>
              <a:gd name="connsiteY2" fmla="*/ 1096747 h 1410865"/>
              <a:gd name="connsiteX3" fmla="*/ 1134016 w 1134016"/>
              <a:gd name="connsiteY3" fmla="*/ 894435 h 1410865"/>
              <a:gd name="connsiteX4" fmla="*/ 1128692 w 1134016"/>
              <a:gd name="connsiteY4" fmla="*/ 0 h 1410865"/>
              <a:gd name="connsiteX5" fmla="*/ 39930 w 1134016"/>
              <a:gd name="connsiteY5" fmla="*/ 0 h 1410865"/>
              <a:gd name="connsiteX6" fmla="*/ 0 w 1134016"/>
              <a:gd name="connsiteY6" fmla="*/ 1408203 h 1410865"/>
              <a:gd name="connsiteX0" fmla="*/ 0 w 5993513"/>
              <a:gd name="connsiteY0" fmla="*/ 1409125 h 1410865"/>
              <a:gd name="connsiteX1" fmla="*/ 5575577 w 5993513"/>
              <a:gd name="connsiteY1" fmla="*/ 1410865 h 1410865"/>
              <a:gd name="connsiteX2" fmla="*/ 5887032 w 5993513"/>
              <a:gd name="connsiteY2" fmla="*/ 1096747 h 1410865"/>
              <a:gd name="connsiteX3" fmla="*/ 5993513 w 5993513"/>
              <a:gd name="connsiteY3" fmla="*/ 894435 h 1410865"/>
              <a:gd name="connsiteX4" fmla="*/ 5988189 w 5993513"/>
              <a:gd name="connsiteY4" fmla="*/ 0 h 1410865"/>
              <a:gd name="connsiteX5" fmla="*/ 4899427 w 5993513"/>
              <a:gd name="connsiteY5" fmla="*/ 0 h 1410865"/>
              <a:gd name="connsiteX6" fmla="*/ 0 w 5993513"/>
              <a:gd name="connsiteY6" fmla="*/ 1409125 h 1410865"/>
              <a:gd name="connsiteX0" fmla="*/ 0 w 5993513"/>
              <a:gd name="connsiteY0" fmla="*/ 6859588 h 6861328"/>
              <a:gd name="connsiteX1" fmla="*/ 5575577 w 5993513"/>
              <a:gd name="connsiteY1" fmla="*/ 6861328 h 6861328"/>
              <a:gd name="connsiteX2" fmla="*/ 5887032 w 5993513"/>
              <a:gd name="connsiteY2" fmla="*/ 6547210 h 6861328"/>
              <a:gd name="connsiteX3" fmla="*/ 5993513 w 5993513"/>
              <a:gd name="connsiteY3" fmla="*/ 6344898 h 6861328"/>
              <a:gd name="connsiteX4" fmla="*/ 5988189 w 5993513"/>
              <a:gd name="connsiteY4" fmla="*/ 5450463 h 6861328"/>
              <a:gd name="connsiteX5" fmla="*/ 1 w 5993513"/>
              <a:gd name="connsiteY5" fmla="*/ 0 h 6861328"/>
              <a:gd name="connsiteX6" fmla="*/ 0 w 5993513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7764"/>
              <a:gd name="connsiteY0" fmla="*/ 6859588 h 6861328"/>
              <a:gd name="connsiteX1" fmla="*/ 5575577 w 5997764"/>
              <a:gd name="connsiteY1" fmla="*/ 6861328 h 6861328"/>
              <a:gd name="connsiteX2" fmla="*/ 5887032 w 5997764"/>
              <a:gd name="connsiteY2" fmla="*/ 6547210 h 6861328"/>
              <a:gd name="connsiteX3" fmla="*/ 5993513 w 5997764"/>
              <a:gd name="connsiteY3" fmla="*/ 6344898 h 6861328"/>
              <a:gd name="connsiteX4" fmla="*/ 5995989 w 5997764"/>
              <a:gd name="connsiteY4" fmla="*/ 0 h 6861328"/>
              <a:gd name="connsiteX5" fmla="*/ 1 w 5997764"/>
              <a:gd name="connsiteY5" fmla="*/ 0 h 6861328"/>
              <a:gd name="connsiteX6" fmla="*/ 0 w 5997764"/>
              <a:gd name="connsiteY6" fmla="*/ 6859588 h 6861328"/>
              <a:gd name="connsiteX0" fmla="*/ 0 w 5993513"/>
              <a:gd name="connsiteY0" fmla="*/ 12219678 h 12221418"/>
              <a:gd name="connsiteX1" fmla="*/ 5575577 w 5993513"/>
              <a:gd name="connsiteY1" fmla="*/ 12221418 h 12221418"/>
              <a:gd name="connsiteX2" fmla="*/ 5887032 w 5993513"/>
              <a:gd name="connsiteY2" fmla="*/ 11907300 h 12221418"/>
              <a:gd name="connsiteX3" fmla="*/ 5993513 w 5993513"/>
              <a:gd name="connsiteY3" fmla="*/ 11704988 h 12221418"/>
              <a:gd name="connsiteX4" fmla="*/ 5987780 w 5993513"/>
              <a:gd name="connsiteY4" fmla="*/ 0 h 12221418"/>
              <a:gd name="connsiteX5" fmla="*/ 1 w 5993513"/>
              <a:gd name="connsiteY5" fmla="*/ 5360090 h 12221418"/>
              <a:gd name="connsiteX6" fmla="*/ 0 w 5993513"/>
              <a:gd name="connsiteY6" fmla="*/ 12219678 h 12221418"/>
              <a:gd name="connsiteX0" fmla="*/ 3542284 w 5993512"/>
              <a:gd name="connsiteY0" fmla="*/ 12215762 h 12221418"/>
              <a:gd name="connsiteX1" fmla="*/ 5575576 w 5993512"/>
              <a:gd name="connsiteY1" fmla="*/ 12221418 h 12221418"/>
              <a:gd name="connsiteX2" fmla="*/ 5887031 w 5993512"/>
              <a:gd name="connsiteY2" fmla="*/ 11907300 h 12221418"/>
              <a:gd name="connsiteX3" fmla="*/ 5993512 w 5993512"/>
              <a:gd name="connsiteY3" fmla="*/ 11704988 h 12221418"/>
              <a:gd name="connsiteX4" fmla="*/ 5987779 w 5993512"/>
              <a:gd name="connsiteY4" fmla="*/ 0 h 12221418"/>
              <a:gd name="connsiteX5" fmla="*/ 0 w 5993512"/>
              <a:gd name="connsiteY5" fmla="*/ 5360090 h 12221418"/>
              <a:gd name="connsiteX6" fmla="*/ 3542284 w 5993512"/>
              <a:gd name="connsiteY6" fmla="*/ 12215762 h 12221418"/>
              <a:gd name="connsiteX0" fmla="*/ 0 w 2451228"/>
              <a:gd name="connsiteY0" fmla="*/ 12215762 h 12221418"/>
              <a:gd name="connsiteX1" fmla="*/ 2033292 w 2451228"/>
              <a:gd name="connsiteY1" fmla="*/ 12221418 h 12221418"/>
              <a:gd name="connsiteX2" fmla="*/ 2344747 w 2451228"/>
              <a:gd name="connsiteY2" fmla="*/ 11907300 h 12221418"/>
              <a:gd name="connsiteX3" fmla="*/ 2451228 w 2451228"/>
              <a:gd name="connsiteY3" fmla="*/ 11704988 h 12221418"/>
              <a:gd name="connsiteX4" fmla="*/ 2445495 w 2451228"/>
              <a:gd name="connsiteY4" fmla="*/ 0 h 12221418"/>
              <a:gd name="connsiteX5" fmla="*/ 0 w 2451228"/>
              <a:gd name="connsiteY5" fmla="*/ 20584 h 12221418"/>
              <a:gd name="connsiteX6" fmla="*/ 0 w 2451228"/>
              <a:gd name="connsiteY6" fmla="*/ 12215762 h 12221418"/>
              <a:gd name="connsiteX0" fmla="*/ 0 w 2451228"/>
              <a:gd name="connsiteY0" fmla="*/ 12202114 h 12207770"/>
              <a:gd name="connsiteX1" fmla="*/ 2033292 w 2451228"/>
              <a:gd name="connsiteY1" fmla="*/ 12207770 h 12207770"/>
              <a:gd name="connsiteX2" fmla="*/ 2344747 w 2451228"/>
              <a:gd name="connsiteY2" fmla="*/ 11893652 h 12207770"/>
              <a:gd name="connsiteX3" fmla="*/ 2451228 w 2451228"/>
              <a:gd name="connsiteY3" fmla="*/ 11691340 h 12207770"/>
              <a:gd name="connsiteX4" fmla="*/ 2441055 w 2451228"/>
              <a:gd name="connsiteY4" fmla="*/ 0 h 12207770"/>
              <a:gd name="connsiteX5" fmla="*/ 0 w 2451228"/>
              <a:gd name="connsiteY5" fmla="*/ 6936 h 12207770"/>
              <a:gd name="connsiteX6" fmla="*/ 0 w 2451228"/>
              <a:gd name="connsiteY6" fmla="*/ 12202114 h 12207770"/>
              <a:gd name="connsiteX0" fmla="*/ 0 w 2451228"/>
              <a:gd name="connsiteY0" fmla="*/ 12195178 h 12200834"/>
              <a:gd name="connsiteX1" fmla="*/ 2033292 w 2451228"/>
              <a:gd name="connsiteY1" fmla="*/ 12200834 h 12200834"/>
              <a:gd name="connsiteX2" fmla="*/ 2344747 w 2451228"/>
              <a:gd name="connsiteY2" fmla="*/ 11886716 h 12200834"/>
              <a:gd name="connsiteX3" fmla="*/ 2451228 w 2451228"/>
              <a:gd name="connsiteY3" fmla="*/ 11684404 h 12200834"/>
              <a:gd name="connsiteX4" fmla="*/ 2439518 w 2451228"/>
              <a:gd name="connsiteY4" fmla="*/ 1656 h 12200834"/>
              <a:gd name="connsiteX5" fmla="*/ 0 w 2451228"/>
              <a:gd name="connsiteY5" fmla="*/ 0 h 12200834"/>
              <a:gd name="connsiteX6" fmla="*/ 0 w 2451228"/>
              <a:gd name="connsiteY6" fmla="*/ 12195178 h 12200834"/>
              <a:gd name="connsiteX0" fmla="*/ 0 w 2451228"/>
              <a:gd name="connsiteY0" fmla="*/ 12195178 h 12195178"/>
              <a:gd name="connsiteX1" fmla="*/ 2018671 w 2451228"/>
              <a:gd name="connsiteY1" fmla="*/ 12192340 h 12195178"/>
              <a:gd name="connsiteX2" fmla="*/ 2344747 w 2451228"/>
              <a:gd name="connsiteY2" fmla="*/ 11886716 h 12195178"/>
              <a:gd name="connsiteX3" fmla="*/ 2451228 w 2451228"/>
              <a:gd name="connsiteY3" fmla="*/ 11684404 h 12195178"/>
              <a:gd name="connsiteX4" fmla="*/ 2439518 w 2451228"/>
              <a:gd name="connsiteY4" fmla="*/ 1656 h 12195178"/>
              <a:gd name="connsiteX5" fmla="*/ 0 w 2451228"/>
              <a:gd name="connsiteY5" fmla="*/ 0 h 12195178"/>
              <a:gd name="connsiteX6" fmla="*/ 0 w 2451228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44747 w 2444782"/>
              <a:gd name="connsiteY2" fmla="*/ 1188671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14573 w 2444782"/>
              <a:gd name="connsiteY2" fmla="*/ 1189850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14573 w 2444782"/>
              <a:gd name="connsiteY2" fmla="*/ 1189850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2444782"/>
              <a:gd name="connsiteY0" fmla="*/ 12195178 h 12195178"/>
              <a:gd name="connsiteX1" fmla="*/ 2018671 w 2444782"/>
              <a:gd name="connsiteY1" fmla="*/ 12192340 h 12195178"/>
              <a:gd name="connsiteX2" fmla="*/ 2314573 w 2444782"/>
              <a:gd name="connsiteY2" fmla="*/ 11898506 h 12195178"/>
              <a:gd name="connsiteX3" fmla="*/ 2444782 w 2444782"/>
              <a:gd name="connsiteY3" fmla="*/ 11651193 h 12195178"/>
              <a:gd name="connsiteX4" fmla="*/ 2439518 w 2444782"/>
              <a:gd name="connsiteY4" fmla="*/ 1656 h 12195178"/>
              <a:gd name="connsiteX5" fmla="*/ 0 w 2444782"/>
              <a:gd name="connsiteY5" fmla="*/ 0 h 12195178"/>
              <a:gd name="connsiteX6" fmla="*/ 0 w 2444782"/>
              <a:gd name="connsiteY6" fmla="*/ 12195178 h 12195178"/>
              <a:gd name="connsiteX0" fmla="*/ 0 w 4956105"/>
              <a:gd name="connsiteY0" fmla="*/ 12195175 h 12195175"/>
              <a:gd name="connsiteX1" fmla="*/ 4529994 w 4956105"/>
              <a:gd name="connsiteY1" fmla="*/ 12192340 h 12195175"/>
              <a:gd name="connsiteX2" fmla="*/ 4825896 w 4956105"/>
              <a:gd name="connsiteY2" fmla="*/ 11898506 h 12195175"/>
              <a:gd name="connsiteX3" fmla="*/ 4956105 w 4956105"/>
              <a:gd name="connsiteY3" fmla="*/ 11651193 h 12195175"/>
              <a:gd name="connsiteX4" fmla="*/ 4950841 w 4956105"/>
              <a:gd name="connsiteY4" fmla="*/ 1656 h 12195175"/>
              <a:gd name="connsiteX5" fmla="*/ 2511323 w 4956105"/>
              <a:gd name="connsiteY5" fmla="*/ 0 h 12195175"/>
              <a:gd name="connsiteX6" fmla="*/ 0 w 4956105"/>
              <a:gd name="connsiteY6" fmla="*/ 12195175 h 12195175"/>
              <a:gd name="connsiteX0" fmla="*/ 0 w 4956105"/>
              <a:gd name="connsiteY0" fmla="*/ 12195174 h 12195174"/>
              <a:gd name="connsiteX1" fmla="*/ 4529994 w 4956105"/>
              <a:gd name="connsiteY1" fmla="*/ 12192339 h 12195174"/>
              <a:gd name="connsiteX2" fmla="*/ 4825896 w 4956105"/>
              <a:gd name="connsiteY2" fmla="*/ 11898505 h 12195174"/>
              <a:gd name="connsiteX3" fmla="*/ 4956105 w 4956105"/>
              <a:gd name="connsiteY3" fmla="*/ 11651192 h 12195174"/>
              <a:gd name="connsiteX4" fmla="*/ 4950841 w 4956105"/>
              <a:gd name="connsiteY4" fmla="*/ 1655 h 12195174"/>
              <a:gd name="connsiteX5" fmla="*/ 0 w 4956105"/>
              <a:gd name="connsiteY5" fmla="*/ 0 h 12195174"/>
              <a:gd name="connsiteX6" fmla="*/ 0 w 4956105"/>
              <a:gd name="connsiteY6" fmla="*/ 12195174 h 12195174"/>
              <a:gd name="connsiteX0" fmla="*/ 998621 w 5954726"/>
              <a:gd name="connsiteY0" fmla="*/ 12195174 h 12195174"/>
              <a:gd name="connsiteX1" fmla="*/ 5528615 w 5954726"/>
              <a:gd name="connsiteY1" fmla="*/ 12192339 h 12195174"/>
              <a:gd name="connsiteX2" fmla="*/ 5824517 w 5954726"/>
              <a:gd name="connsiteY2" fmla="*/ 11898505 h 12195174"/>
              <a:gd name="connsiteX3" fmla="*/ 5954726 w 5954726"/>
              <a:gd name="connsiteY3" fmla="*/ 11651192 h 12195174"/>
              <a:gd name="connsiteX4" fmla="*/ 5949462 w 5954726"/>
              <a:gd name="connsiteY4" fmla="*/ 1655 h 12195174"/>
              <a:gd name="connsiteX5" fmla="*/ 0 w 5954726"/>
              <a:gd name="connsiteY5" fmla="*/ 0 h 12195174"/>
              <a:gd name="connsiteX6" fmla="*/ 998621 w 5954726"/>
              <a:gd name="connsiteY6" fmla="*/ 12195174 h 12195174"/>
              <a:gd name="connsiteX0" fmla="*/ 0 w 5954726"/>
              <a:gd name="connsiteY0" fmla="*/ 12207206 h 12207206"/>
              <a:gd name="connsiteX1" fmla="*/ 5528615 w 5954726"/>
              <a:gd name="connsiteY1" fmla="*/ 12192339 h 12207206"/>
              <a:gd name="connsiteX2" fmla="*/ 5824517 w 5954726"/>
              <a:gd name="connsiteY2" fmla="*/ 11898505 h 12207206"/>
              <a:gd name="connsiteX3" fmla="*/ 5954726 w 5954726"/>
              <a:gd name="connsiteY3" fmla="*/ 11651192 h 12207206"/>
              <a:gd name="connsiteX4" fmla="*/ 5949462 w 5954726"/>
              <a:gd name="connsiteY4" fmla="*/ 1655 h 12207206"/>
              <a:gd name="connsiteX5" fmla="*/ 0 w 5954726"/>
              <a:gd name="connsiteY5" fmla="*/ 0 h 12207206"/>
              <a:gd name="connsiteX6" fmla="*/ 0 w 5954726"/>
              <a:gd name="connsiteY6" fmla="*/ 12207206 h 12207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4726" h="12207206">
                <a:moveTo>
                  <a:pt x="0" y="12207206"/>
                </a:moveTo>
                <a:lnTo>
                  <a:pt x="5528615" y="12192339"/>
                </a:lnTo>
                <a:lnTo>
                  <a:pt x="5824517" y="11898505"/>
                </a:lnTo>
                <a:cubicBezTo>
                  <a:pt x="5925107" y="11801962"/>
                  <a:pt x="5945764" y="11762947"/>
                  <a:pt x="5954726" y="11651192"/>
                </a:cubicBezTo>
                <a:cubicBezTo>
                  <a:pt x="5952951" y="11353047"/>
                  <a:pt x="5951237" y="299800"/>
                  <a:pt x="5949462" y="1655"/>
                </a:cubicBezTo>
                <a:lnTo>
                  <a:pt x="0" y="0"/>
                </a:lnTo>
                <a:lnTo>
                  <a:pt x="0" y="12207206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GB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109">
            <a:extLst>
              <a:ext uri="{FF2B5EF4-FFF2-40B4-BE49-F238E27FC236}">
                <a16:creationId xmlns:a16="http://schemas.microsoft.com/office/drawing/2014/main" id="{494782E4-17B8-06A6-9E3E-12CBE12D302B}"/>
              </a:ext>
            </a:extLst>
          </p:cNvPr>
          <p:cNvSpPr txBox="1">
            <a:spLocks/>
          </p:cNvSpPr>
          <p:nvPr userDrawn="1"/>
        </p:nvSpPr>
        <p:spPr>
          <a:xfrm>
            <a:off x="8567403" y="4839477"/>
            <a:ext cx="195267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400">
                <a:solidFill>
                  <a:srgbClr val="FF0000"/>
                </a:solidFill>
                <a:latin typeface="+mn-lt"/>
              </a:defRPr>
            </a:lvl1pPr>
          </a:lstStyle>
          <a:p>
            <a:pPr marL="0" marR="0" lvl="0" indent="0" algn="r" defTabSz="6856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B8A8675-40C0-40D2-8FCE-EA4A25F48F18}" type="slidenum">
              <a:rPr kumimoji="0" lang="en-GB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61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" name="Picture 1" descr="Logo&#10;&#10;Description automatically generated with medium confidence">
            <a:extLst>
              <a:ext uri="{FF2B5EF4-FFF2-40B4-BE49-F238E27FC236}">
                <a16:creationId xmlns:a16="http://schemas.microsoft.com/office/drawing/2014/main" id="{4A86E9AE-4F13-A834-D062-E9B29C06CE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0" y="88049"/>
            <a:ext cx="1241815" cy="459805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C2F6293-93D6-1294-6900-99CC7F7A1F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resentation title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65C3B53B-12F1-320F-6533-B70039B11D33}"/>
              </a:ext>
            </a:extLst>
          </p:cNvPr>
          <p:cNvCxnSpPr>
            <a:cxnSpLocks/>
          </p:cNvCxnSpPr>
          <p:nvPr userDrawn="1"/>
        </p:nvCxnSpPr>
        <p:spPr>
          <a:xfrm>
            <a:off x="1721738" y="182293"/>
            <a:ext cx="0" cy="350919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3">
            <a:extLst>
              <a:ext uri="{FF2B5EF4-FFF2-40B4-BE49-F238E27FC236}">
                <a16:creationId xmlns:a16="http://schemas.microsoft.com/office/drawing/2014/main" id="{25FC9CD9-C6A3-1A04-6179-17B394514F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5522" y="165110"/>
            <a:ext cx="7061991" cy="448357"/>
          </a:xfrm>
        </p:spPr>
        <p:txBody>
          <a:bodyPr/>
          <a:lstStyle>
            <a:lvl1pPr>
              <a:lnSpc>
                <a:spcPts val="1500"/>
              </a:lnSpc>
              <a:defRPr sz="15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41985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7986" y="329959"/>
            <a:ext cx="8484566" cy="230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7337" y="1580987"/>
            <a:ext cx="8489327" cy="2440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 - First level of bullet point – 14pt</a:t>
            </a:r>
          </a:p>
          <a:p>
            <a:pPr lvl="2"/>
            <a:r>
              <a:rPr lang="en-GB"/>
              <a:t>Third level - Second level of bullet point – 12pt</a:t>
            </a:r>
          </a:p>
          <a:p>
            <a:pPr lvl="3"/>
            <a:r>
              <a:rPr lang="en-GB"/>
              <a:t>Fourth level - Third level of bullet point – 10pt</a:t>
            </a:r>
          </a:p>
          <a:p>
            <a:pPr lvl="4"/>
            <a:r>
              <a:rPr lang="en-GB"/>
              <a:t>Fifth level - hyperlinks Fifth level </a:t>
            </a:r>
          </a:p>
        </p:txBody>
      </p:sp>
      <p:grpSp>
        <p:nvGrpSpPr>
          <p:cNvPr id="112" name="Group 111"/>
          <p:cNvGrpSpPr/>
          <p:nvPr userDrawn="1"/>
        </p:nvGrpSpPr>
        <p:grpSpPr>
          <a:xfrm>
            <a:off x="330708" y="-407380"/>
            <a:ext cx="8481194" cy="267194"/>
            <a:chOff x="441059" y="-543299"/>
            <a:chExt cx="11311203" cy="356341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767FE574-C472-944C-85AC-16E1F8CAA96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41059" y="-543299"/>
              <a:ext cx="0" cy="356341"/>
            </a:xfrm>
            <a:prstGeom prst="line">
              <a:avLst/>
            </a:prstGeom>
            <a:ln w="25400">
              <a:solidFill>
                <a:srgbClr val="FA193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8F782C39-0D18-B245-BF70-C282B0A1417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38973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2A735312-2F3D-D74E-BD47-F2D0EC38193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83267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74412662-E083-6247-AD63-E3E205B5C4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71938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1D7E54F-EC9E-F047-80D5-1494B1F7DDE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297363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F8224BF4-720A-E842-B806-0D733B149B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995988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F57B71B-7262-C943-8F0E-926200A1BB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199188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24CAC6C4-8DFB-2740-97F7-90FF0FCEA4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88300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AC789A6A-CFFC-9242-ABA8-9EEF1F7FF32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185150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36F9C895-C70D-684C-BE55-F2F63606D6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918275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C5CF3D0A-4D9E-7645-BAD2-235D94D6248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062569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59C4FB6-F336-8D4E-A9F8-6C92DC15E26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752262" y="-543299"/>
              <a:ext cx="0" cy="356341"/>
            </a:xfrm>
            <a:prstGeom prst="line">
              <a:avLst/>
            </a:prstGeom>
            <a:ln w="25400">
              <a:solidFill>
                <a:srgbClr val="FA193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DDA5BD5D-C36F-B84B-AF5A-E637C8AF11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8381" y="-543299"/>
              <a:ext cx="0" cy="356341"/>
            </a:xfrm>
            <a:prstGeom prst="line">
              <a:avLst/>
            </a:prstGeom>
            <a:ln w="2540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5" name="Group 114"/>
          <p:cNvGrpSpPr/>
          <p:nvPr userDrawn="1"/>
        </p:nvGrpSpPr>
        <p:grpSpPr>
          <a:xfrm>
            <a:off x="330708" y="5278521"/>
            <a:ext cx="8481194" cy="267194"/>
            <a:chOff x="441059" y="7039657"/>
            <a:chExt cx="11311203" cy="356341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81AE2D35-DB98-4C40-BAD2-670315C3F8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41059" y="7039657"/>
              <a:ext cx="0" cy="356341"/>
            </a:xfrm>
            <a:prstGeom prst="line">
              <a:avLst/>
            </a:prstGeom>
            <a:ln w="25400">
              <a:solidFill>
                <a:srgbClr val="FA193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7D7F2538-274A-9842-95A0-73C36996A1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38973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C0E42852-FA1F-B04C-9371-8E93272E245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83267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55756C35-AD97-A447-9FC0-F0FA4FA7EC2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71938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8223EF5-4818-B642-9A60-D1E9F13A8F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297363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18B21F70-6ECA-9449-A970-BBEDE88C00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995988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69C30193-7F02-F445-8AE2-CA517F7CD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199188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A8844B5B-0AA8-6D4D-9E46-AA378D9DE7B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77592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A85DAB4E-4C9B-2C46-9AC1-D2C31C3905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185150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75450B0D-FE75-DB46-ACD6-992428ACC1C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918275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DCC32F0D-1C5F-2E48-A45C-8250B0BD2A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062569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CC3CC1E-4EF3-D64A-AF8C-3006FAF4E5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752262" y="7039657"/>
              <a:ext cx="0" cy="356341"/>
            </a:xfrm>
            <a:prstGeom prst="line">
              <a:avLst/>
            </a:prstGeom>
            <a:ln w="25400">
              <a:solidFill>
                <a:srgbClr val="FA193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D1DCB8A8-F42F-C54E-9B1C-4AF120BB07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102150" y="7039657"/>
              <a:ext cx="0" cy="356341"/>
            </a:xfrm>
            <a:prstGeom prst="line">
              <a:avLst/>
            </a:prstGeom>
            <a:ln w="2540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3" name="Group 112"/>
          <p:cNvGrpSpPr/>
          <p:nvPr userDrawn="1"/>
        </p:nvGrpSpPr>
        <p:grpSpPr>
          <a:xfrm>
            <a:off x="-407707" y="342200"/>
            <a:ext cx="272553" cy="4403526"/>
            <a:chOff x="-543750" y="456372"/>
            <a:chExt cx="363498" cy="5872728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97DB925-E068-B045-8E44-D5DE3798F68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40755" y="6329100"/>
              <a:ext cx="360503" cy="0"/>
            </a:xfrm>
            <a:prstGeom prst="line">
              <a:avLst/>
            </a:prstGeom>
            <a:ln w="25400">
              <a:solidFill>
                <a:srgbClr val="FA193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2374D9A4-0BA8-C848-8BED-29B43927983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40755" y="3430130"/>
              <a:ext cx="360503" cy="0"/>
            </a:xfrm>
            <a:prstGeom prst="line">
              <a:avLst/>
            </a:prstGeom>
            <a:ln w="2540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6B21299-A197-964A-A5F0-8365B33BB02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40755" y="456372"/>
              <a:ext cx="360503" cy="0"/>
            </a:xfrm>
            <a:prstGeom prst="line">
              <a:avLst/>
            </a:prstGeom>
            <a:ln w="25400">
              <a:solidFill>
                <a:srgbClr val="FA193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841FFB26-7469-4843-89A4-1A9D7F3D68E9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-543750" y="2108471"/>
              <a:ext cx="363498" cy="162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237F69AA-9375-2649-8B31-D47A2DC52D9A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-543750" y="1345690"/>
              <a:ext cx="363498" cy="162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3833C03-B7AE-9F4B-BAB4-65062ACA308F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-543750" y="5372066"/>
              <a:ext cx="363498" cy="162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7BCAA520-1BFE-314A-9F42-E25402CEA82A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-543750" y="5372066"/>
              <a:ext cx="363498" cy="162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4" name="Group 113"/>
          <p:cNvGrpSpPr/>
          <p:nvPr userDrawn="1"/>
        </p:nvGrpSpPr>
        <p:grpSpPr>
          <a:xfrm>
            <a:off x="9280939" y="342200"/>
            <a:ext cx="272553" cy="4403526"/>
            <a:chOff x="12377808" y="456372"/>
            <a:chExt cx="363498" cy="5872728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531F7EB-FA81-1F45-88A3-D55ED11542C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80803" y="6329100"/>
              <a:ext cx="360503" cy="0"/>
            </a:xfrm>
            <a:prstGeom prst="line">
              <a:avLst/>
            </a:prstGeom>
            <a:ln w="25400">
              <a:solidFill>
                <a:srgbClr val="FA193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CF804969-F8D9-6640-8DB2-088B8BC2B81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80803" y="3430130"/>
              <a:ext cx="360503" cy="0"/>
            </a:xfrm>
            <a:prstGeom prst="line">
              <a:avLst/>
            </a:prstGeom>
            <a:ln w="2540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9A80D99E-0F5E-8A41-AD4A-4232D229E5E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80803" y="456372"/>
              <a:ext cx="360503" cy="0"/>
            </a:xfrm>
            <a:prstGeom prst="line">
              <a:avLst/>
            </a:prstGeom>
            <a:ln w="25400">
              <a:solidFill>
                <a:srgbClr val="FA193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5F08334E-1AC5-D745-88BE-802F0DADA8F6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2377808" y="2108471"/>
              <a:ext cx="363498" cy="162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B356B9-CC85-EC4C-AB51-D3E726783B92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2377808" y="1345690"/>
              <a:ext cx="363498" cy="162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B6987DB-BB68-5542-B82F-8FF3190CB401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2377808" y="5372066"/>
              <a:ext cx="363498" cy="162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290135-1E06-99CA-C9D8-40C2C7F0FD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1147" y="4767350"/>
            <a:ext cx="3085297" cy="2737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85180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0" r:id="rId1"/>
    <p:sldLayoutId id="2147484791" r:id="rId2"/>
    <p:sldLayoutId id="2147484794" r:id="rId3"/>
    <p:sldLayoutId id="2147484796" r:id="rId4"/>
    <p:sldLayoutId id="2147484797" r:id="rId5"/>
    <p:sldLayoutId id="2147484798" r:id="rId6"/>
    <p:sldLayoutId id="2147484799" r:id="rId7"/>
    <p:sldLayoutId id="2147484801" r:id="rId8"/>
    <p:sldLayoutId id="2147484810" r:id="rId9"/>
    <p:sldLayoutId id="2147483680" r:id="rId10"/>
    <p:sldLayoutId id="2147483748" r:id="rId11"/>
    <p:sldLayoutId id="2147483691" r:id="rId12"/>
    <p:sldLayoutId id="2147484803" r:id="rId13"/>
    <p:sldLayoutId id="2147484805" r:id="rId14"/>
    <p:sldLayoutId id="2147484806" r:id="rId15"/>
    <p:sldLayoutId id="2147485068" r:id="rId16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949" b="1" cap="none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49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49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49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49">
          <a:solidFill>
            <a:schemeClr val="tx1"/>
          </a:solidFill>
          <a:latin typeface="Arial" charset="0"/>
        </a:defRPr>
      </a:lvl5pPr>
      <a:lvl6pPr marL="408182" algn="l" rtl="0" eaLnBrk="1" fontAlgn="base" hangingPunct="1">
        <a:spcBef>
          <a:spcPct val="0"/>
        </a:spcBef>
        <a:spcAft>
          <a:spcPct val="0"/>
        </a:spcAft>
        <a:defRPr sz="2249">
          <a:solidFill>
            <a:schemeClr val="tx1"/>
          </a:solidFill>
          <a:latin typeface="Arial" charset="0"/>
        </a:defRPr>
      </a:lvl6pPr>
      <a:lvl7pPr marL="816364" algn="l" rtl="0" eaLnBrk="1" fontAlgn="base" hangingPunct="1">
        <a:spcBef>
          <a:spcPct val="0"/>
        </a:spcBef>
        <a:spcAft>
          <a:spcPct val="0"/>
        </a:spcAft>
        <a:defRPr sz="2249">
          <a:solidFill>
            <a:schemeClr val="tx1"/>
          </a:solidFill>
          <a:latin typeface="Arial" charset="0"/>
        </a:defRPr>
      </a:lvl7pPr>
      <a:lvl8pPr marL="1224546" algn="l" rtl="0" eaLnBrk="1" fontAlgn="base" hangingPunct="1">
        <a:spcBef>
          <a:spcPct val="0"/>
        </a:spcBef>
        <a:spcAft>
          <a:spcPct val="0"/>
        </a:spcAft>
        <a:defRPr sz="2249">
          <a:solidFill>
            <a:schemeClr val="tx1"/>
          </a:solidFill>
          <a:latin typeface="Arial" charset="0"/>
        </a:defRPr>
      </a:lvl8pPr>
      <a:lvl9pPr marL="1632728" algn="l" rtl="0" eaLnBrk="1" fontAlgn="base" hangingPunct="1">
        <a:spcBef>
          <a:spcPct val="0"/>
        </a:spcBef>
        <a:spcAft>
          <a:spcPct val="0"/>
        </a:spcAft>
        <a:defRPr sz="2249">
          <a:solidFill>
            <a:schemeClr val="tx1"/>
          </a:solidFill>
          <a:latin typeface="Arial" charset="0"/>
        </a:defRPr>
      </a:lvl9pPr>
    </p:titleStyle>
    <p:bodyStyle>
      <a:lvl1pPr algn="l" rtl="0" eaLnBrk="1" fontAlgn="base" hangingPunct="1">
        <a:lnSpc>
          <a:spcPct val="125000"/>
        </a:lnSpc>
        <a:spcBef>
          <a:spcPts val="0"/>
        </a:spcBef>
        <a:spcAft>
          <a:spcPts val="1050"/>
        </a:spcAft>
        <a:defRPr sz="1050" b="0">
          <a:solidFill>
            <a:schemeClr val="tx2"/>
          </a:solidFill>
          <a:latin typeface="+mn-lt"/>
          <a:ea typeface="+mn-ea"/>
          <a:cs typeface="+mn-cs"/>
        </a:defRPr>
      </a:lvl1pPr>
      <a:lvl2pPr marL="134964" indent="-134964" algn="l" rtl="0" eaLnBrk="1" fontAlgn="base" hangingPunct="1">
        <a:lnSpc>
          <a:spcPct val="125000"/>
        </a:lnSpc>
        <a:spcBef>
          <a:spcPts val="525"/>
        </a:spcBef>
        <a:spcAft>
          <a:spcPct val="0"/>
        </a:spcAft>
        <a:buClr>
          <a:schemeClr val="accent2"/>
        </a:buClr>
        <a:buFontTx/>
        <a:buBlip>
          <a:blip r:embed="rId18"/>
        </a:buBlip>
        <a:defRPr sz="1050" b="0">
          <a:solidFill>
            <a:schemeClr val="tx2"/>
          </a:solidFill>
          <a:latin typeface="+mn-lt"/>
        </a:defRPr>
      </a:lvl2pPr>
      <a:lvl3pPr marL="270200" indent="-129744" algn="l" rtl="0" eaLnBrk="1" fontAlgn="base" hangingPunct="1">
        <a:lnSpc>
          <a:spcPct val="125000"/>
        </a:lnSpc>
        <a:spcBef>
          <a:spcPts val="150"/>
        </a:spcBef>
        <a:spcAft>
          <a:spcPct val="0"/>
        </a:spcAft>
        <a:buClrTx/>
        <a:buFont typeface="Amalia" pitchFamily="34" charset="0"/>
        <a:buChar char="•"/>
        <a:tabLst/>
        <a:defRPr sz="900">
          <a:solidFill>
            <a:schemeClr val="tx2"/>
          </a:solidFill>
          <a:latin typeface="+mn-lt"/>
        </a:defRPr>
      </a:lvl3pPr>
      <a:lvl4pPr marL="399493" indent="-134505" algn="l" rtl="0" eaLnBrk="1" fontAlgn="base" hangingPunct="1">
        <a:lnSpc>
          <a:spcPct val="125000"/>
        </a:lnSpc>
        <a:spcBef>
          <a:spcPts val="405"/>
        </a:spcBef>
        <a:spcAft>
          <a:spcPct val="0"/>
        </a:spcAft>
        <a:buClrTx/>
        <a:buFont typeface="Nokia Pure Headline Light" pitchFamily="34" charset="0"/>
        <a:buChar char="–"/>
        <a:tabLst/>
        <a:defRPr sz="750">
          <a:solidFill>
            <a:schemeClr val="tx2"/>
          </a:solidFill>
          <a:latin typeface="+mn-lt"/>
        </a:defRPr>
      </a:lvl4pPr>
      <a:lvl5pPr marL="0" indent="0" algn="l" rtl="0" eaLnBrk="1" fontAlgn="base" hangingPunct="1">
        <a:lnSpc>
          <a:spcPct val="125000"/>
        </a:lnSpc>
        <a:spcBef>
          <a:spcPts val="1500"/>
        </a:spcBef>
        <a:spcAft>
          <a:spcPct val="0"/>
        </a:spcAft>
        <a:buFont typeface="Calibri" panose="020F0502020204030204" pitchFamily="34" charset="0"/>
        <a:buNone/>
        <a:tabLst/>
        <a:defRPr sz="900" b="0" u="sng" baseline="0">
          <a:solidFill>
            <a:srgbClr val="64C5C9"/>
          </a:solidFill>
          <a:latin typeface="+mn-lt"/>
        </a:defRPr>
      </a:lvl5pPr>
      <a:lvl6pPr marL="0" indent="0" algn="l" rtl="0" eaLnBrk="1" fontAlgn="base" hangingPunct="1">
        <a:spcBef>
          <a:spcPts val="2143"/>
        </a:spcBef>
        <a:spcAft>
          <a:spcPct val="0"/>
        </a:spcAft>
        <a:buFont typeface="Arial" charset="0"/>
        <a:buNone/>
        <a:defRPr sz="1050">
          <a:solidFill>
            <a:srgbClr val="FF0000"/>
          </a:solidFill>
          <a:latin typeface="+mn-lt"/>
        </a:defRPr>
      </a:lvl6pPr>
      <a:lvl7pPr marL="2015399" indent="-93542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975">
          <a:solidFill>
            <a:schemeClr val="tx1"/>
          </a:solidFill>
          <a:latin typeface="+mn-lt"/>
        </a:defRPr>
      </a:lvl7pPr>
      <a:lvl8pPr marL="2423582" indent="-93542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975">
          <a:solidFill>
            <a:schemeClr val="tx1"/>
          </a:solidFill>
          <a:latin typeface="+mn-lt"/>
        </a:defRPr>
      </a:lvl8pPr>
      <a:lvl9pPr marL="2831764" indent="-93542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9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16364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408182" algn="l" defTabSz="816364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2pPr>
      <a:lvl3pPr marL="816364" algn="l" defTabSz="816364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24546" algn="l" defTabSz="816364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4pPr>
      <a:lvl5pPr marL="1632728" algn="l" defTabSz="816364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5pPr>
      <a:lvl6pPr marL="2040911" algn="l" defTabSz="816364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449093" algn="l" defTabSz="816364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857275" algn="l" defTabSz="816364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265457" algn="l" defTabSz="816364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39C748E-FFFE-B5D4-F34D-F9DA275DEC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6441936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9C748E-FFFE-B5D4-F34D-F9DA275DEC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think-cell data - do not delete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191" y="1191"/>
            <a:ext cx="1191" cy="1191"/>
          </a:xfrm>
          <a:prstGeom prst="rect">
            <a:avLst/>
          </a:prstGeom>
        </p:spPr>
      </p:pic>
      <p:pic>
        <p:nvPicPr>
          <p:cNvPr id="10" name="think-cell data - do not delete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191" y="1191"/>
            <a:ext cx="1191" cy="1191"/>
          </a:xfrm>
          <a:prstGeom prst="rect">
            <a:avLst/>
          </a:prstGeom>
        </p:spPr>
      </p:pic>
      <p:pic>
        <p:nvPicPr>
          <p:cNvPr id="12" name="think-cell data - do not delete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190" y="1190"/>
            <a:ext cx="1191" cy="1191"/>
          </a:xfrm>
          <a:prstGeom prst="rect">
            <a:avLst/>
          </a:prstGeom>
        </p:spPr>
      </p:pic>
      <p:pic>
        <p:nvPicPr>
          <p:cNvPr id="7" name="think-cell data - do not delete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190" y="1190"/>
            <a:ext cx="1191" cy="1191"/>
          </a:xfrm>
          <a:prstGeom prst="rect">
            <a:avLst/>
          </a:prstGeom>
        </p:spPr>
      </p:pic>
      <p:pic>
        <p:nvPicPr>
          <p:cNvPr id="6" name="think-cell data - do not delete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190" y="1190"/>
            <a:ext cx="1191" cy="1191"/>
          </a:xfrm>
          <a:prstGeom prst="rect">
            <a:avLst/>
          </a:prstGeom>
        </p:spPr>
      </p:pic>
      <p:pic>
        <p:nvPicPr>
          <p:cNvPr id="8" name="think-cell data - do not delete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190" y="1190"/>
            <a:ext cx="1191" cy="1191"/>
          </a:xfrm>
          <a:prstGeom prst="rect">
            <a:avLst/>
          </a:prstGeom>
        </p:spPr>
      </p:pic>
      <p:pic>
        <p:nvPicPr>
          <p:cNvPr id="5" name="think-cell data - do not delete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190" y="1190"/>
            <a:ext cx="1191" cy="1191"/>
          </a:xfrm>
          <a:prstGeom prst="rect">
            <a:avLst/>
          </a:prstGeom>
        </p:spPr>
      </p:pic>
      <p:pic>
        <p:nvPicPr>
          <p:cNvPr id="4" name="think-cell data - do not delete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190" y="1190"/>
            <a:ext cx="1191" cy="1191"/>
          </a:xfrm>
          <a:prstGeom prst="rect">
            <a:avLst/>
          </a:prstGeom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7987" y="329959"/>
            <a:ext cx="8484566" cy="230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cs-CZ"/>
              <a:t>Kliknutím lze upravit styl.</a:t>
            </a:r>
            <a:endParaRPr lang="en-GB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7337" y="1580988"/>
            <a:ext cx="8489327" cy="2440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 - First level of bullet point – 14pt</a:t>
            </a:r>
          </a:p>
          <a:p>
            <a:pPr lvl="2"/>
            <a:r>
              <a:rPr lang="en-GB"/>
              <a:t>Third level - Second level of bullet point – 12pt</a:t>
            </a:r>
          </a:p>
          <a:p>
            <a:pPr lvl="3"/>
            <a:r>
              <a:rPr lang="en-GB"/>
              <a:t>Fourth level - Third level of bullet point – 10pt</a:t>
            </a:r>
          </a:p>
          <a:p>
            <a:pPr lvl="4"/>
            <a:r>
              <a:rPr lang="en-GB"/>
              <a:t>Fifth level - hyperlinks Fifth level </a:t>
            </a:r>
          </a:p>
        </p:txBody>
      </p:sp>
      <p:grpSp>
        <p:nvGrpSpPr>
          <p:cNvPr id="112" name="Group 111"/>
          <p:cNvGrpSpPr/>
          <p:nvPr userDrawn="1"/>
        </p:nvGrpSpPr>
        <p:grpSpPr>
          <a:xfrm>
            <a:off x="330709" y="-407379"/>
            <a:ext cx="8481194" cy="267194"/>
            <a:chOff x="441059" y="-543299"/>
            <a:chExt cx="11311203" cy="356341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767FE574-C472-944C-85AC-16E1F8CAA96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41059" y="-543299"/>
              <a:ext cx="0" cy="356341"/>
            </a:xfrm>
            <a:prstGeom prst="line">
              <a:avLst/>
            </a:prstGeom>
            <a:ln w="25400">
              <a:solidFill>
                <a:srgbClr val="FA193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8F782C39-0D18-B245-BF70-C282B0A1417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38973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2A735312-2F3D-D74E-BD47-F2D0EC38193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83267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74412662-E083-6247-AD63-E3E205B5C4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71938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1D7E54F-EC9E-F047-80D5-1494B1F7DDE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297363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F8224BF4-720A-E842-B806-0D733B149B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995988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F57B71B-7262-C943-8F0E-926200A1BB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199188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24CAC6C4-8DFB-2740-97F7-90FF0FCEA4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88300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AC789A6A-CFFC-9242-ABA8-9EEF1F7FF32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185150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36F9C895-C70D-684C-BE55-F2F63606D6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918275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C5CF3D0A-4D9E-7645-BAD2-235D94D6248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062569" y="-543299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59C4FB6-F336-8D4E-A9F8-6C92DC15E26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752262" y="-543299"/>
              <a:ext cx="0" cy="356341"/>
            </a:xfrm>
            <a:prstGeom prst="line">
              <a:avLst/>
            </a:prstGeom>
            <a:ln w="25400">
              <a:solidFill>
                <a:srgbClr val="FA193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DDA5BD5D-C36F-B84B-AF5A-E637C8AF11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8381" y="-543299"/>
              <a:ext cx="0" cy="356341"/>
            </a:xfrm>
            <a:prstGeom prst="line">
              <a:avLst/>
            </a:prstGeom>
            <a:ln w="2540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5" name="Group 114"/>
          <p:cNvGrpSpPr/>
          <p:nvPr userDrawn="1"/>
        </p:nvGrpSpPr>
        <p:grpSpPr>
          <a:xfrm>
            <a:off x="330709" y="5278522"/>
            <a:ext cx="8481194" cy="267194"/>
            <a:chOff x="441059" y="7039657"/>
            <a:chExt cx="11311203" cy="356341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81AE2D35-DB98-4C40-BAD2-670315C3F8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41059" y="7039657"/>
              <a:ext cx="0" cy="356341"/>
            </a:xfrm>
            <a:prstGeom prst="line">
              <a:avLst/>
            </a:prstGeom>
            <a:ln w="25400">
              <a:solidFill>
                <a:srgbClr val="FA193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7D7F2538-274A-9842-95A0-73C36996A1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38973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C0E42852-FA1F-B04C-9371-8E93272E245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83267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55756C35-AD97-A447-9FC0-F0FA4FA7EC2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71938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8223EF5-4818-B642-9A60-D1E9F13A8F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297363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18B21F70-6ECA-9449-A970-BBEDE88C00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995988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69C30193-7F02-F445-8AE2-CA517F7CD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199188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A8844B5B-0AA8-6D4D-9E46-AA378D9DE7B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77592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A85DAB4E-4C9B-2C46-9AC1-D2C31C3905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185150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75450B0D-FE75-DB46-ACD6-992428ACC1C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918275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DCC32F0D-1C5F-2E48-A45C-8250B0BD2A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062569" y="7039657"/>
              <a:ext cx="0" cy="35634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CC3CC1E-4EF3-D64A-AF8C-3006FAF4E5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752262" y="7039657"/>
              <a:ext cx="0" cy="356341"/>
            </a:xfrm>
            <a:prstGeom prst="line">
              <a:avLst/>
            </a:prstGeom>
            <a:ln w="25400">
              <a:solidFill>
                <a:srgbClr val="FA193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D1DCB8A8-F42F-C54E-9B1C-4AF120BB07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102150" y="7039657"/>
              <a:ext cx="0" cy="356341"/>
            </a:xfrm>
            <a:prstGeom prst="line">
              <a:avLst/>
            </a:prstGeom>
            <a:ln w="2540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3" name="Group 112"/>
          <p:cNvGrpSpPr/>
          <p:nvPr userDrawn="1"/>
        </p:nvGrpSpPr>
        <p:grpSpPr>
          <a:xfrm>
            <a:off x="-407706" y="342200"/>
            <a:ext cx="272552" cy="4403526"/>
            <a:chOff x="-543750" y="456372"/>
            <a:chExt cx="363498" cy="5872728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97DB925-E068-B045-8E44-D5DE3798F68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40755" y="6329100"/>
              <a:ext cx="360503" cy="0"/>
            </a:xfrm>
            <a:prstGeom prst="line">
              <a:avLst/>
            </a:prstGeom>
            <a:ln w="25400">
              <a:solidFill>
                <a:srgbClr val="FA193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2374D9A4-0BA8-C848-8BED-29B43927983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40755" y="3430130"/>
              <a:ext cx="360503" cy="0"/>
            </a:xfrm>
            <a:prstGeom prst="line">
              <a:avLst/>
            </a:prstGeom>
            <a:ln w="2540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6B21299-A197-964A-A5F0-8365B33BB02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40755" y="456372"/>
              <a:ext cx="360503" cy="0"/>
            </a:xfrm>
            <a:prstGeom prst="line">
              <a:avLst/>
            </a:prstGeom>
            <a:ln w="25400">
              <a:solidFill>
                <a:srgbClr val="FA193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841FFB26-7469-4843-89A4-1A9D7F3D68E9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-543750" y="2108471"/>
              <a:ext cx="363498" cy="162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237F69AA-9375-2649-8B31-D47A2DC52D9A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-543750" y="1345690"/>
              <a:ext cx="363498" cy="162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3833C03-B7AE-9F4B-BAB4-65062ACA308F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-543750" y="5372066"/>
              <a:ext cx="363498" cy="162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7BCAA520-1BFE-314A-9F42-E25402CEA82A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-543750" y="5372066"/>
              <a:ext cx="363498" cy="162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4" name="Group 113"/>
          <p:cNvGrpSpPr/>
          <p:nvPr userDrawn="1"/>
        </p:nvGrpSpPr>
        <p:grpSpPr>
          <a:xfrm>
            <a:off x="9280940" y="342200"/>
            <a:ext cx="272552" cy="4403526"/>
            <a:chOff x="12377808" y="456372"/>
            <a:chExt cx="363498" cy="5872728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531F7EB-FA81-1F45-88A3-D55ED11542C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80803" y="6329100"/>
              <a:ext cx="360503" cy="0"/>
            </a:xfrm>
            <a:prstGeom prst="line">
              <a:avLst/>
            </a:prstGeom>
            <a:ln w="25400">
              <a:solidFill>
                <a:srgbClr val="FA193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CF804969-F8D9-6640-8DB2-088B8BC2B81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80803" y="3430130"/>
              <a:ext cx="360503" cy="0"/>
            </a:xfrm>
            <a:prstGeom prst="line">
              <a:avLst/>
            </a:prstGeom>
            <a:ln w="2540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9A80D99E-0F5E-8A41-AD4A-4232D229E5E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80803" y="456372"/>
              <a:ext cx="360503" cy="0"/>
            </a:xfrm>
            <a:prstGeom prst="line">
              <a:avLst/>
            </a:prstGeom>
            <a:ln w="25400">
              <a:solidFill>
                <a:srgbClr val="FA193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5F08334E-1AC5-D745-88BE-802F0DADA8F6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2377808" y="2108471"/>
              <a:ext cx="363498" cy="162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B356B9-CC85-EC4C-AB51-D3E726783B92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2377808" y="1345690"/>
              <a:ext cx="363498" cy="162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B6987DB-BB68-5542-B82F-8FF3190CB401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2377808" y="5372066"/>
              <a:ext cx="363498" cy="162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290135-1E06-99CA-C9D8-40C2C7F0FD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1147" y="4767350"/>
            <a:ext cx="3085297" cy="2737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/>
              <a:t>Presentation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F69B71E-2A0F-53AA-007E-41D45DFFF4F1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8186738" y="4981575"/>
            <a:ext cx="931069" cy="115416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75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cation: GENERAL</a:t>
            </a:r>
          </a:p>
        </p:txBody>
      </p:sp>
    </p:spTree>
    <p:extLst>
      <p:ext uri="{BB962C8B-B14F-4D97-AF65-F5344CB8AC3E}">
        <p14:creationId xmlns:p14="http://schemas.microsoft.com/office/powerpoint/2010/main" val="1348272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67" r:id="rId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949" b="1" cap="none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49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49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49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49">
          <a:solidFill>
            <a:schemeClr val="tx1"/>
          </a:solidFill>
          <a:latin typeface="Arial" charset="0"/>
        </a:defRPr>
      </a:lvl5pPr>
      <a:lvl6pPr marL="408169" algn="l" rtl="0" eaLnBrk="1" fontAlgn="base" hangingPunct="1">
        <a:spcBef>
          <a:spcPct val="0"/>
        </a:spcBef>
        <a:spcAft>
          <a:spcPct val="0"/>
        </a:spcAft>
        <a:defRPr sz="2249">
          <a:solidFill>
            <a:schemeClr val="tx1"/>
          </a:solidFill>
          <a:latin typeface="Arial" charset="0"/>
        </a:defRPr>
      </a:lvl6pPr>
      <a:lvl7pPr marL="816337" algn="l" rtl="0" eaLnBrk="1" fontAlgn="base" hangingPunct="1">
        <a:spcBef>
          <a:spcPct val="0"/>
        </a:spcBef>
        <a:spcAft>
          <a:spcPct val="0"/>
        </a:spcAft>
        <a:defRPr sz="2249">
          <a:solidFill>
            <a:schemeClr val="tx1"/>
          </a:solidFill>
          <a:latin typeface="Arial" charset="0"/>
        </a:defRPr>
      </a:lvl7pPr>
      <a:lvl8pPr marL="1224506" algn="l" rtl="0" eaLnBrk="1" fontAlgn="base" hangingPunct="1">
        <a:spcBef>
          <a:spcPct val="0"/>
        </a:spcBef>
        <a:spcAft>
          <a:spcPct val="0"/>
        </a:spcAft>
        <a:defRPr sz="2249">
          <a:solidFill>
            <a:schemeClr val="tx1"/>
          </a:solidFill>
          <a:latin typeface="Arial" charset="0"/>
        </a:defRPr>
      </a:lvl8pPr>
      <a:lvl9pPr marL="1632674" algn="l" rtl="0" eaLnBrk="1" fontAlgn="base" hangingPunct="1">
        <a:spcBef>
          <a:spcPct val="0"/>
        </a:spcBef>
        <a:spcAft>
          <a:spcPct val="0"/>
        </a:spcAft>
        <a:defRPr sz="2249">
          <a:solidFill>
            <a:schemeClr val="tx1"/>
          </a:solidFill>
          <a:latin typeface="Arial" charset="0"/>
        </a:defRPr>
      </a:lvl9pPr>
    </p:titleStyle>
    <p:bodyStyle>
      <a:lvl1pPr algn="l" rtl="0" eaLnBrk="1" fontAlgn="base" hangingPunct="1">
        <a:lnSpc>
          <a:spcPct val="125000"/>
        </a:lnSpc>
        <a:spcBef>
          <a:spcPts val="0"/>
        </a:spcBef>
        <a:spcAft>
          <a:spcPts val="1050"/>
        </a:spcAft>
        <a:defRPr sz="1050" b="0">
          <a:solidFill>
            <a:schemeClr val="tx2"/>
          </a:solidFill>
          <a:latin typeface="+mn-lt"/>
          <a:ea typeface="+mn-ea"/>
          <a:cs typeface="+mn-cs"/>
        </a:defRPr>
      </a:lvl1pPr>
      <a:lvl2pPr marL="134960" indent="-134960" algn="l" rtl="0" eaLnBrk="1" fontAlgn="base" hangingPunct="1">
        <a:lnSpc>
          <a:spcPct val="125000"/>
        </a:lnSpc>
        <a:spcBef>
          <a:spcPts val="525"/>
        </a:spcBef>
        <a:spcAft>
          <a:spcPct val="0"/>
        </a:spcAft>
        <a:buClr>
          <a:schemeClr val="accent2"/>
        </a:buClr>
        <a:buFontTx/>
        <a:buBlip>
          <a:blip r:embed="rId6"/>
        </a:buBlip>
        <a:defRPr sz="1050" b="0">
          <a:solidFill>
            <a:schemeClr val="tx2"/>
          </a:solidFill>
          <a:latin typeface="+mn-lt"/>
        </a:defRPr>
      </a:lvl2pPr>
      <a:lvl3pPr marL="270191" indent="-129740" algn="l" rtl="0" eaLnBrk="1" fontAlgn="base" hangingPunct="1">
        <a:lnSpc>
          <a:spcPct val="125000"/>
        </a:lnSpc>
        <a:spcBef>
          <a:spcPts val="150"/>
        </a:spcBef>
        <a:spcAft>
          <a:spcPct val="0"/>
        </a:spcAft>
        <a:buClrTx/>
        <a:buFont typeface="Amalia" pitchFamily="34" charset="0"/>
        <a:buChar char="•"/>
        <a:tabLst/>
        <a:defRPr sz="900">
          <a:solidFill>
            <a:schemeClr val="tx2"/>
          </a:solidFill>
          <a:latin typeface="+mn-lt"/>
        </a:defRPr>
      </a:lvl3pPr>
      <a:lvl4pPr marL="399480" indent="-134501" algn="l" rtl="0" eaLnBrk="1" fontAlgn="base" hangingPunct="1">
        <a:lnSpc>
          <a:spcPct val="125000"/>
        </a:lnSpc>
        <a:spcBef>
          <a:spcPts val="405"/>
        </a:spcBef>
        <a:spcAft>
          <a:spcPct val="0"/>
        </a:spcAft>
        <a:buClrTx/>
        <a:buFont typeface="Nokia Pure Headline Light" pitchFamily="34" charset="0"/>
        <a:buChar char="–"/>
        <a:tabLst/>
        <a:defRPr sz="750">
          <a:solidFill>
            <a:schemeClr val="tx2"/>
          </a:solidFill>
          <a:latin typeface="+mn-lt"/>
        </a:defRPr>
      </a:lvl4pPr>
      <a:lvl5pPr marL="0" indent="0" algn="l" rtl="0" eaLnBrk="1" fontAlgn="base" hangingPunct="1">
        <a:lnSpc>
          <a:spcPct val="125000"/>
        </a:lnSpc>
        <a:spcBef>
          <a:spcPts val="1499"/>
        </a:spcBef>
        <a:spcAft>
          <a:spcPct val="0"/>
        </a:spcAft>
        <a:buFont typeface="Calibri" panose="020F0502020204030204" pitchFamily="34" charset="0"/>
        <a:buNone/>
        <a:tabLst/>
        <a:defRPr sz="900" b="0" u="sng" baseline="0">
          <a:solidFill>
            <a:srgbClr val="64C5C9"/>
          </a:solidFill>
          <a:latin typeface="+mn-lt"/>
        </a:defRPr>
      </a:lvl5pPr>
      <a:lvl6pPr marL="0" indent="0" algn="l" rtl="0" eaLnBrk="1" fontAlgn="base" hangingPunct="1">
        <a:spcBef>
          <a:spcPts val="2143"/>
        </a:spcBef>
        <a:spcAft>
          <a:spcPct val="0"/>
        </a:spcAft>
        <a:buFont typeface="Arial" charset="0"/>
        <a:buNone/>
        <a:defRPr sz="1050">
          <a:solidFill>
            <a:srgbClr val="FF0000"/>
          </a:solidFill>
          <a:latin typeface="+mn-lt"/>
        </a:defRPr>
      </a:lvl6pPr>
      <a:lvl7pPr marL="2015333" indent="-93539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975">
          <a:solidFill>
            <a:schemeClr val="tx1"/>
          </a:solidFill>
          <a:latin typeface="+mn-lt"/>
        </a:defRPr>
      </a:lvl7pPr>
      <a:lvl8pPr marL="2423501" indent="-93539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975">
          <a:solidFill>
            <a:schemeClr val="tx1"/>
          </a:solidFill>
          <a:latin typeface="+mn-lt"/>
        </a:defRPr>
      </a:lvl8pPr>
      <a:lvl9pPr marL="2831669" indent="-93539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9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16337" rtl="0" eaLnBrk="1" latinLnBrk="0" hangingPunct="1">
        <a:defRPr sz="1574" kern="1200">
          <a:solidFill>
            <a:schemeClr val="tx1"/>
          </a:solidFill>
          <a:latin typeface="+mn-lt"/>
          <a:ea typeface="+mn-ea"/>
          <a:cs typeface="+mn-cs"/>
        </a:defRPr>
      </a:lvl1pPr>
      <a:lvl2pPr marL="408169" algn="l" defTabSz="816337" rtl="0" eaLnBrk="1" latinLnBrk="0" hangingPunct="1">
        <a:defRPr sz="1574" kern="1200">
          <a:solidFill>
            <a:schemeClr val="tx1"/>
          </a:solidFill>
          <a:latin typeface="+mn-lt"/>
          <a:ea typeface="+mn-ea"/>
          <a:cs typeface="+mn-cs"/>
        </a:defRPr>
      </a:lvl2pPr>
      <a:lvl3pPr marL="816337" algn="l" defTabSz="816337" rtl="0" eaLnBrk="1" latinLnBrk="0" hangingPunct="1">
        <a:defRPr sz="1574" kern="1200">
          <a:solidFill>
            <a:schemeClr val="tx1"/>
          </a:solidFill>
          <a:latin typeface="+mn-lt"/>
          <a:ea typeface="+mn-ea"/>
          <a:cs typeface="+mn-cs"/>
        </a:defRPr>
      </a:lvl3pPr>
      <a:lvl4pPr marL="1224506" algn="l" defTabSz="816337" rtl="0" eaLnBrk="1" latinLnBrk="0" hangingPunct="1">
        <a:defRPr sz="1574" kern="1200">
          <a:solidFill>
            <a:schemeClr val="tx1"/>
          </a:solidFill>
          <a:latin typeface="+mn-lt"/>
          <a:ea typeface="+mn-ea"/>
          <a:cs typeface="+mn-cs"/>
        </a:defRPr>
      </a:lvl4pPr>
      <a:lvl5pPr marL="1632674" algn="l" defTabSz="816337" rtl="0" eaLnBrk="1" latinLnBrk="0" hangingPunct="1">
        <a:defRPr sz="1574" kern="1200">
          <a:solidFill>
            <a:schemeClr val="tx1"/>
          </a:solidFill>
          <a:latin typeface="+mn-lt"/>
          <a:ea typeface="+mn-ea"/>
          <a:cs typeface="+mn-cs"/>
        </a:defRPr>
      </a:lvl5pPr>
      <a:lvl6pPr marL="2040842" algn="l" defTabSz="816337" rtl="0" eaLnBrk="1" latinLnBrk="0" hangingPunct="1">
        <a:defRPr sz="1574" kern="1200">
          <a:solidFill>
            <a:schemeClr val="tx1"/>
          </a:solidFill>
          <a:latin typeface="+mn-lt"/>
          <a:ea typeface="+mn-ea"/>
          <a:cs typeface="+mn-cs"/>
        </a:defRPr>
      </a:lvl6pPr>
      <a:lvl7pPr marL="2449011" algn="l" defTabSz="816337" rtl="0" eaLnBrk="1" latinLnBrk="0" hangingPunct="1">
        <a:defRPr sz="1574" kern="1200">
          <a:solidFill>
            <a:schemeClr val="tx1"/>
          </a:solidFill>
          <a:latin typeface="+mn-lt"/>
          <a:ea typeface="+mn-ea"/>
          <a:cs typeface="+mn-cs"/>
        </a:defRPr>
      </a:lvl7pPr>
      <a:lvl8pPr marL="2857180" algn="l" defTabSz="816337" rtl="0" eaLnBrk="1" latinLnBrk="0" hangingPunct="1">
        <a:defRPr sz="1574" kern="1200">
          <a:solidFill>
            <a:schemeClr val="tx1"/>
          </a:solidFill>
          <a:latin typeface="+mn-lt"/>
          <a:ea typeface="+mn-ea"/>
          <a:cs typeface="+mn-cs"/>
        </a:defRPr>
      </a:lvl8pPr>
      <a:lvl9pPr marL="3265348" algn="l" defTabSz="816337" rtl="0" eaLnBrk="1" latinLnBrk="0" hangingPunct="1">
        <a:defRPr sz="157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svg"/><Relationship Id="rId18" Type="http://schemas.openxmlformats.org/officeDocument/2006/relationships/image" Target="../media/image22.png"/><Relationship Id="rId26" Type="http://schemas.openxmlformats.org/officeDocument/2006/relationships/image" Target="../media/image30.png"/><Relationship Id="rId3" Type="http://schemas.openxmlformats.org/officeDocument/2006/relationships/image" Target="../media/image7.svg"/><Relationship Id="rId21" Type="http://schemas.openxmlformats.org/officeDocument/2006/relationships/image" Target="../media/image25.svg"/><Relationship Id="rId7" Type="http://schemas.openxmlformats.org/officeDocument/2006/relationships/image" Target="../media/image11.svg"/><Relationship Id="rId12" Type="http://schemas.openxmlformats.org/officeDocument/2006/relationships/image" Target="../media/image16.png"/><Relationship Id="rId17" Type="http://schemas.openxmlformats.org/officeDocument/2006/relationships/image" Target="../media/image21.svg"/><Relationship Id="rId25" Type="http://schemas.openxmlformats.org/officeDocument/2006/relationships/image" Target="../media/image29.svg"/><Relationship Id="rId2" Type="http://schemas.openxmlformats.org/officeDocument/2006/relationships/image" Target="../media/image6.png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29" Type="http://schemas.openxmlformats.org/officeDocument/2006/relationships/image" Target="../media/image33.sv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11" Type="http://schemas.openxmlformats.org/officeDocument/2006/relationships/image" Target="../media/image15.svg"/><Relationship Id="rId24" Type="http://schemas.openxmlformats.org/officeDocument/2006/relationships/image" Target="../media/image28.png"/><Relationship Id="rId5" Type="http://schemas.openxmlformats.org/officeDocument/2006/relationships/image" Target="../media/image9.svg"/><Relationship Id="rId15" Type="http://schemas.openxmlformats.org/officeDocument/2006/relationships/image" Target="../media/image19.svg"/><Relationship Id="rId23" Type="http://schemas.openxmlformats.org/officeDocument/2006/relationships/image" Target="../media/image27.svg"/><Relationship Id="rId28" Type="http://schemas.openxmlformats.org/officeDocument/2006/relationships/image" Target="../media/image32.png"/><Relationship Id="rId10" Type="http://schemas.openxmlformats.org/officeDocument/2006/relationships/image" Target="../media/image14.png"/><Relationship Id="rId19" Type="http://schemas.openxmlformats.org/officeDocument/2006/relationships/image" Target="../media/image23.svg"/><Relationship Id="rId4" Type="http://schemas.openxmlformats.org/officeDocument/2006/relationships/image" Target="../media/image8.png"/><Relationship Id="rId9" Type="http://schemas.openxmlformats.org/officeDocument/2006/relationships/image" Target="../media/image13.svg"/><Relationship Id="rId14" Type="http://schemas.openxmlformats.org/officeDocument/2006/relationships/image" Target="../media/image18.png"/><Relationship Id="rId22" Type="http://schemas.openxmlformats.org/officeDocument/2006/relationships/image" Target="../media/image26.png"/><Relationship Id="rId27" Type="http://schemas.openxmlformats.org/officeDocument/2006/relationships/image" Target="../media/image31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.png"/><Relationship Id="rId4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5" Type="http://schemas.microsoft.com/office/2007/relationships/hdphoto" Target="../media/hdphoto1.wdp"/><Relationship Id="rId4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5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5E87DF-5925-3EF8-E537-A3B30D0789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006" y="3852554"/>
            <a:ext cx="3765994" cy="69672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600">
                <a:latin typeface="Amalia" panose="020B0504020203020204" pitchFamily="34" charset="-18"/>
              </a:rPr>
              <a:t>Helena Horská</a:t>
            </a:r>
          </a:p>
          <a:p>
            <a:pPr>
              <a:lnSpc>
                <a:spcPct val="150000"/>
              </a:lnSpc>
            </a:pPr>
            <a:r>
              <a:rPr lang="cs-CZ" sz="1600">
                <a:latin typeface="Amalia" panose="020B0504020203020204" pitchFamily="34" charset="-18"/>
              </a:rPr>
              <a:t>Hlavní ekonomka Raiffeisenbank</a:t>
            </a:r>
            <a:endParaRPr lang="en-US" sz="1600">
              <a:latin typeface="Amalia" panose="020B0504020203020204" pitchFamily="34" charset="-18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E8D3C3F5-45D1-00BF-DD6B-FDE79A06B0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128" y="910410"/>
            <a:ext cx="7179545" cy="1794722"/>
          </a:xfrm>
        </p:spPr>
        <p:txBody>
          <a:bodyPr/>
          <a:lstStyle/>
          <a:p>
            <a:pPr>
              <a:lnSpc>
                <a:spcPts val="4920"/>
              </a:lnSpc>
            </a:pPr>
            <a:r>
              <a:rPr lang="cs-CZ" sz="32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Zdravá populace, zdravá ekonomika,</a:t>
            </a:r>
            <a:br>
              <a:rPr lang="cs-CZ" sz="320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cs-CZ" sz="32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ZDRAVÉ ZDRAVOTNICTVÍ</a:t>
            </a:r>
            <a:br>
              <a:rPr lang="en-GB" sz="180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cs-CZ" sz="2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Jak učinit ekonomiku a zdravotní systém odolnějším</a:t>
            </a:r>
            <a:endParaRPr lang="en-GB" sz="2800"/>
          </a:p>
        </p:txBody>
      </p:sp>
    </p:spTree>
    <p:extLst>
      <p:ext uri="{BB962C8B-B14F-4D97-AF65-F5344CB8AC3E}">
        <p14:creationId xmlns:p14="http://schemas.microsoft.com/office/powerpoint/2010/main" val="9078964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247AC-68C9-F4E2-0415-FDE756A1D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816" y="1008611"/>
            <a:ext cx="8768580" cy="254089"/>
          </a:xfrm>
        </p:spPr>
        <p:txBody>
          <a:bodyPr/>
          <a:lstStyle/>
          <a:p>
            <a:r>
              <a:rPr lang="cs-CZ" sz="1600" dirty="0"/>
              <a:t>Demografie nezná slitování </a:t>
            </a:r>
            <a:r>
              <a:rPr lang="en-GB" sz="1600" dirty="0"/>
              <a:t>– </a:t>
            </a:r>
            <a:r>
              <a:rPr lang="cs-CZ" sz="1600" dirty="0"/>
              <a:t>ekonomicky aktivní populace </a:t>
            </a:r>
            <a:r>
              <a:rPr lang="en-GB" sz="1600" dirty="0"/>
              <a:t>se </a:t>
            </a:r>
            <a:r>
              <a:rPr lang="cs-CZ" sz="1600" dirty="0"/>
              <a:t>tenčí</a:t>
            </a:r>
            <a:endParaRPr lang="en-GB" sz="1600" dirty="0"/>
          </a:p>
        </p:txBody>
      </p:sp>
      <p:pic>
        <p:nvPicPr>
          <p:cNvPr id="5" name="Graphic 4" descr="Old man using cane">
            <a:extLst>
              <a:ext uri="{FF2B5EF4-FFF2-40B4-BE49-F238E27FC236}">
                <a16:creationId xmlns:a16="http://schemas.microsoft.com/office/drawing/2014/main" id="{2B4713FE-2B40-71F5-F1A6-C054EEDFDD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70230" y="1540516"/>
            <a:ext cx="722166" cy="1529851"/>
          </a:xfrm>
          <a:prstGeom prst="rect">
            <a:avLst/>
          </a:prstGeom>
        </p:spPr>
      </p:pic>
      <p:pic>
        <p:nvPicPr>
          <p:cNvPr id="6" name="Graphic 5" descr="Old man using cane">
            <a:extLst>
              <a:ext uri="{FF2B5EF4-FFF2-40B4-BE49-F238E27FC236}">
                <a16:creationId xmlns:a16="http://schemas.microsoft.com/office/drawing/2014/main" id="{81C7A513-D5E5-19E3-97A9-756FC4D5BD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95478" y="3491575"/>
            <a:ext cx="605318" cy="1282318"/>
          </a:xfrm>
          <a:prstGeom prst="rect">
            <a:avLst/>
          </a:prstGeom>
        </p:spPr>
      </p:pic>
      <p:pic>
        <p:nvPicPr>
          <p:cNvPr id="8" name="Graphic 7" descr="Man in a polo shirt">
            <a:extLst>
              <a:ext uri="{FF2B5EF4-FFF2-40B4-BE49-F238E27FC236}">
                <a16:creationId xmlns:a16="http://schemas.microsoft.com/office/drawing/2014/main" id="{85786BD1-5A03-D35A-E9BE-1F108DCBD0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4939" y="1587052"/>
            <a:ext cx="476332" cy="1388235"/>
          </a:xfrm>
          <a:prstGeom prst="rect">
            <a:avLst/>
          </a:prstGeom>
        </p:spPr>
      </p:pic>
      <p:pic>
        <p:nvPicPr>
          <p:cNvPr id="10" name="Graphic 9" descr="Woman in black skirt">
            <a:extLst>
              <a:ext uri="{FF2B5EF4-FFF2-40B4-BE49-F238E27FC236}">
                <a16:creationId xmlns:a16="http://schemas.microsoft.com/office/drawing/2014/main" id="{98971541-3AF7-2D70-EBA1-C75F0CBC106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3347" y="1606685"/>
            <a:ext cx="618315" cy="1388235"/>
          </a:xfrm>
          <a:prstGeom prst="rect">
            <a:avLst/>
          </a:prstGeom>
        </p:spPr>
      </p:pic>
      <p:pic>
        <p:nvPicPr>
          <p:cNvPr id="11" name="Graphic 10" descr="Man in a polo shirt">
            <a:extLst>
              <a:ext uri="{FF2B5EF4-FFF2-40B4-BE49-F238E27FC236}">
                <a16:creationId xmlns:a16="http://schemas.microsoft.com/office/drawing/2014/main" id="{129E9211-CACA-78D9-8B35-B2ED260907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06898" y="1606685"/>
            <a:ext cx="475277" cy="1388236"/>
          </a:xfrm>
          <a:prstGeom prst="rect">
            <a:avLst/>
          </a:prstGeom>
        </p:spPr>
      </p:pic>
      <p:pic>
        <p:nvPicPr>
          <p:cNvPr id="12" name="Graphic 11" descr="Woman in black skirt">
            <a:extLst>
              <a:ext uri="{FF2B5EF4-FFF2-40B4-BE49-F238E27FC236}">
                <a16:creationId xmlns:a16="http://schemas.microsoft.com/office/drawing/2014/main" id="{322CD00C-2714-4F06-3DA1-F26AE74217A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40888" y="1655333"/>
            <a:ext cx="599464" cy="1345912"/>
          </a:xfrm>
          <a:prstGeom prst="rect">
            <a:avLst/>
          </a:prstGeom>
        </p:spPr>
      </p:pic>
      <p:pic>
        <p:nvPicPr>
          <p:cNvPr id="13" name="Graphic 12" descr="Man in a polo shirt">
            <a:extLst>
              <a:ext uri="{FF2B5EF4-FFF2-40B4-BE49-F238E27FC236}">
                <a16:creationId xmlns:a16="http://schemas.microsoft.com/office/drawing/2014/main" id="{BC17DA25-F44F-AD9F-4955-BEEDC56A0E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45555" y="1656711"/>
            <a:ext cx="426235" cy="1337496"/>
          </a:xfrm>
          <a:prstGeom prst="rect">
            <a:avLst/>
          </a:prstGeom>
        </p:spPr>
      </p:pic>
      <p:pic>
        <p:nvPicPr>
          <p:cNvPr id="14" name="Graphic 13" descr="Old man using cane">
            <a:extLst>
              <a:ext uri="{FF2B5EF4-FFF2-40B4-BE49-F238E27FC236}">
                <a16:creationId xmlns:a16="http://schemas.microsoft.com/office/drawing/2014/main" id="{6A9DE8CD-B53E-5559-8D8F-AC29BCC632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60083" y="1501306"/>
            <a:ext cx="686060" cy="145336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B04E7A3A-B7CA-2C4D-AB4E-05A3CFB36071}"/>
              </a:ext>
            </a:extLst>
          </p:cNvPr>
          <p:cNvSpPr txBox="1"/>
          <p:nvPr/>
        </p:nvSpPr>
        <p:spPr>
          <a:xfrm>
            <a:off x="187710" y="3098909"/>
            <a:ext cx="4032998" cy="2236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cs-CZ" sz="1400" b="1">
                <a:latin typeface="+mn-lt"/>
              </a:rPr>
              <a:t>2000</a:t>
            </a:r>
            <a:endParaRPr lang="en-GB" sz="1400" b="1">
              <a:latin typeface="+mn-lt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17AF12B-C61E-8396-C5DC-EEE2F4D5DDAB}"/>
              </a:ext>
            </a:extLst>
          </p:cNvPr>
          <p:cNvCxnSpPr/>
          <p:nvPr/>
        </p:nvCxnSpPr>
        <p:spPr>
          <a:xfrm>
            <a:off x="137565" y="1351159"/>
            <a:ext cx="900643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607FBE5-064A-6619-F61F-83B04F268E1F}"/>
              </a:ext>
            </a:extLst>
          </p:cNvPr>
          <p:cNvCxnSpPr/>
          <p:nvPr/>
        </p:nvCxnSpPr>
        <p:spPr>
          <a:xfrm>
            <a:off x="68782" y="3445647"/>
            <a:ext cx="900643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0C53DAF4-C69C-D828-FAA9-D6B70FD6A2AC}"/>
              </a:ext>
            </a:extLst>
          </p:cNvPr>
          <p:cNvSpPr txBox="1"/>
          <p:nvPr/>
        </p:nvSpPr>
        <p:spPr>
          <a:xfrm>
            <a:off x="5169488" y="3184276"/>
            <a:ext cx="3786801" cy="2154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cs-CZ" sz="1400" b="1">
                <a:latin typeface="+mn-lt"/>
              </a:rPr>
              <a:t>2060</a:t>
            </a:r>
            <a:endParaRPr lang="en-GB" sz="1400" b="1">
              <a:latin typeface="+mn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6F86B47-2BEB-44C2-1C28-2BA76C99C37B}"/>
              </a:ext>
            </a:extLst>
          </p:cNvPr>
          <p:cNvSpPr txBox="1"/>
          <p:nvPr/>
        </p:nvSpPr>
        <p:spPr>
          <a:xfrm>
            <a:off x="6584955" y="2014928"/>
            <a:ext cx="1409109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cs-CZ" sz="1200" b="1">
                <a:solidFill>
                  <a:schemeClr val="bg1">
                    <a:lumMod val="50000"/>
                  </a:schemeClr>
                </a:solidFill>
              </a:rPr>
              <a:t>Míra závislosti</a:t>
            </a:r>
            <a:endParaRPr lang="en-GB" sz="1200" b="1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algn="ctr"/>
            <a:r>
              <a:rPr lang="en-GB" sz="1200" b="1">
                <a:solidFill>
                  <a:schemeClr val="bg1">
                    <a:lumMod val="50000"/>
                  </a:schemeClr>
                </a:solidFill>
              </a:rPr>
              <a:t>50 </a:t>
            </a:r>
            <a:r>
              <a:rPr lang="cs-CZ" sz="1200" b="1">
                <a:solidFill>
                  <a:schemeClr val="bg1">
                    <a:lumMod val="50000"/>
                  </a:schemeClr>
                </a:solidFill>
              </a:rPr>
              <a:t>% (2)</a:t>
            </a:r>
            <a:endParaRPr lang="en-GB" sz="1200" b="1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5E37BFB-81CF-07C8-8352-51EFA87B7066}"/>
              </a:ext>
            </a:extLst>
          </p:cNvPr>
          <p:cNvSpPr txBox="1"/>
          <p:nvPr/>
        </p:nvSpPr>
        <p:spPr>
          <a:xfrm>
            <a:off x="2139151" y="2003597"/>
            <a:ext cx="1409109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cs-CZ" sz="1200" b="1">
                <a:solidFill>
                  <a:schemeClr val="bg1">
                    <a:lumMod val="50000"/>
                  </a:schemeClr>
                </a:solidFill>
              </a:rPr>
              <a:t>Míra závislosti</a:t>
            </a:r>
            <a:endParaRPr lang="en-GB" sz="1200" b="1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algn="ctr"/>
            <a:r>
              <a:rPr lang="cs-CZ" sz="1200" b="1">
                <a:solidFill>
                  <a:schemeClr val="bg1">
                    <a:lumMod val="50000"/>
                  </a:schemeClr>
                </a:solidFill>
                <a:latin typeface="+mn-lt"/>
              </a:rPr>
              <a:t>32 %</a:t>
            </a:r>
            <a:r>
              <a:rPr lang="en-GB" sz="1200" b="1">
                <a:solidFill>
                  <a:schemeClr val="bg1">
                    <a:lumMod val="50000"/>
                  </a:schemeClr>
                </a:solidFill>
                <a:latin typeface="+mn-lt"/>
              </a:rPr>
              <a:t> (2,9</a:t>
            </a:r>
            <a:r>
              <a:rPr lang="cs-CZ" sz="1200" b="1">
                <a:solidFill>
                  <a:schemeClr val="bg1">
                    <a:lumMod val="50000"/>
                  </a:schemeClr>
                </a:solidFill>
                <a:latin typeface="+mn-lt"/>
              </a:rPr>
              <a:t>)</a:t>
            </a:r>
            <a:endParaRPr lang="en-GB" sz="1200" b="1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24" name="Graphic 23" descr="Crawling baby in onesie">
            <a:extLst>
              <a:ext uri="{FF2B5EF4-FFF2-40B4-BE49-F238E27FC236}">
                <a16:creationId xmlns:a16="http://schemas.microsoft.com/office/drawing/2014/main" id="{BAAA5564-9ED9-C3E6-45CD-600B53A0D5F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2504" y="4196028"/>
            <a:ext cx="666181" cy="579099"/>
          </a:xfrm>
          <a:prstGeom prst="rect">
            <a:avLst/>
          </a:prstGeom>
        </p:spPr>
      </p:pic>
      <p:pic>
        <p:nvPicPr>
          <p:cNvPr id="32" name="Graphic 31" descr="Head with protective gear">
            <a:extLst>
              <a:ext uri="{FF2B5EF4-FFF2-40B4-BE49-F238E27FC236}">
                <a16:creationId xmlns:a16="http://schemas.microsoft.com/office/drawing/2014/main" id="{0A8A0722-52FE-20FB-22DE-F2D2992B618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49623" y="3528032"/>
            <a:ext cx="249627" cy="292896"/>
          </a:xfrm>
          <a:prstGeom prst="rect">
            <a:avLst/>
          </a:prstGeom>
        </p:spPr>
      </p:pic>
      <p:pic>
        <p:nvPicPr>
          <p:cNvPr id="33" name="Graphic 32" descr="Man in a polo shirt">
            <a:extLst>
              <a:ext uri="{FF2B5EF4-FFF2-40B4-BE49-F238E27FC236}">
                <a16:creationId xmlns:a16="http://schemas.microsoft.com/office/drawing/2014/main" id="{A55FF343-26B2-8A8E-E6B6-6DF1322349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48459" y="3524499"/>
            <a:ext cx="392703" cy="1144503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4246AE27-0B6F-EC43-967C-A3C9954E9A75}"/>
              </a:ext>
            </a:extLst>
          </p:cNvPr>
          <p:cNvSpPr txBox="1"/>
          <p:nvPr/>
        </p:nvSpPr>
        <p:spPr>
          <a:xfrm>
            <a:off x="6662623" y="4849437"/>
            <a:ext cx="1043099" cy="2154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>
                <a:solidFill>
                  <a:schemeClr val="bg1">
                    <a:lumMod val="50000"/>
                  </a:schemeClr>
                </a:solidFill>
                <a:latin typeface="+mn-lt"/>
              </a:rPr>
              <a:t>65+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BAD3C3F-20E9-875A-1F0B-84B99724D21A}"/>
              </a:ext>
            </a:extLst>
          </p:cNvPr>
          <p:cNvSpPr txBox="1"/>
          <p:nvPr/>
        </p:nvSpPr>
        <p:spPr>
          <a:xfrm>
            <a:off x="4923679" y="4849437"/>
            <a:ext cx="1528950" cy="21544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>
                <a:solidFill>
                  <a:schemeClr val="bg1">
                    <a:lumMod val="50000"/>
                  </a:schemeClr>
                </a:solidFill>
                <a:latin typeface="+mn-lt"/>
              </a:rPr>
              <a:t>HLY 62-64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9C83354-2238-DAA8-BB2E-D71C19CFD13C}"/>
              </a:ext>
            </a:extLst>
          </p:cNvPr>
          <p:cNvSpPr txBox="1"/>
          <p:nvPr/>
        </p:nvSpPr>
        <p:spPr>
          <a:xfrm>
            <a:off x="534075" y="4864630"/>
            <a:ext cx="3686247" cy="2154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cs-CZ" sz="1400">
                <a:solidFill>
                  <a:schemeClr val="bg1">
                    <a:lumMod val="50000"/>
                  </a:schemeClr>
                </a:solidFill>
                <a:latin typeface="+mn-lt"/>
              </a:rPr>
              <a:t>0-</a:t>
            </a:r>
            <a:r>
              <a:rPr lang="en-GB" sz="1400">
                <a:solidFill>
                  <a:schemeClr val="bg1">
                    <a:lumMod val="50000"/>
                  </a:schemeClr>
                </a:solidFill>
              </a:rPr>
              <a:t>40+ </a:t>
            </a:r>
            <a:endParaRPr lang="en-GB" sz="140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47" name="Graphic 46" descr="Medicine with solid fill">
            <a:extLst>
              <a:ext uri="{FF2B5EF4-FFF2-40B4-BE49-F238E27FC236}">
                <a16:creationId xmlns:a16="http://schemas.microsoft.com/office/drawing/2014/main" id="{0C9BB2A0-4D9A-6887-BD95-2ECDDAD70B0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98644" y="3642766"/>
            <a:ext cx="453985" cy="453985"/>
          </a:xfrm>
          <a:prstGeom prst="rect">
            <a:avLst/>
          </a:prstGeom>
        </p:spPr>
      </p:pic>
      <p:pic>
        <p:nvPicPr>
          <p:cNvPr id="49" name="Graphic 48" descr="Heart with pulse with solid fill">
            <a:extLst>
              <a:ext uri="{FF2B5EF4-FFF2-40B4-BE49-F238E27FC236}">
                <a16:creationId xmlns:a16="http://schemas.microsoft.com/office/drawing/2014/main" id="{9E7EA20E-C7C6-7A62-332D-4ECA9AC31C8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566303" y="3463640"/>
            <a:ext cx="453986" cy="453986"/>
          </a:xfrm>
          <a:prstGeom prst="rect">
            <a:avLst/>
          </a:prstGeom>
        </p:spPr>
      </p:pic>
      <p:pic>
        <p:nvPicPr>
          <p:cNvPr id="51" name="Graphic 50" descr="Lungs with solid fill">
            <a:extLst>
              <a:ext uri="{FF2B5EF4-FFF2-40B4-BE49-F238E27FC236}">
                <a16:creationId xmlns:a16="http://schemas.microsoft.com/office/drawing/2014/main" id="{E3042236-ABF4-F721-12F6-7478B4BCC09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559507" y="3838281"/>
            <a:ext cx="423530" cy="432673"/>
          </a:xfrm>
          <a:prstGeom prst="rect">
            <a:avLst/>
          </a:prstGeom>
        </p:spPr>
      </p:pic>
      <p:pic>
        <p:nvPicPr>
          <p:cNvPr id="57" name="Graphic 56" descr="Woman cycling">
            <a:extLst>
              <a:ext uri="{FF2B5EF4-FFF2-40B4-BE49-F238E27FC236}">
                <a16:creationId xmlns:a16="http://schemas.microsoft.com/office/drawing/2014/main" id="{D2F9592B-8B22-F4A4-F5DC-E77007CE99A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793268" y="3757512"/>
            <a:ext cx="694496" cy="889196"/>
          </a:xfrm>
          <a:prstGeom prst="rect">
            <a:avLst/>
          </a:prstGeom>
        </p:spPr>
      </p:pic>
      <p:pic>
        <p:nvPicPr>
          <p:cNvPr id="59" name="Graphic 58" descr="Woman with bangs">
            <a:extLst>
              <a:ext uri="{FF2B5EF4-FFF2-40B4-BE49-F238E27FC236}">
                <a16:creationId xmlns:a16="http://schemas.microsoft.com/office/drawing/2014/main" id="{04194ED8-B884-8562-D210-927E717864F5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09555" y="3568699"/>
            <a:ext cx="238050" cy="214539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ED5F46BA-3EC0-26F4-E2D7-A4A204C64412}"/>
              </a:ext>
            </a:extLst>
          </p:cNvPr>
          <p:cNvSpPr txBox="1"/>
          <p:nvPr/>
        </p:nvSpPr>
        <p:spPr>
          <a:xfrm>
            <a:off x="7999441" y="4849434"/>
            <a:ext cx="1043099" cy="2154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>
                <a:solidFill>
                  <a:schemeClr val="bg1">
                    <a:lumMod val="50000"/>
                  </a:schemeClr>
                </a:solidFill>
              </a:rPr>
              <a:t>~80 </a:t>
            </a:r>
            <a:endParaRPr lang="en-GB" sz="140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62" name="Graphic 61" descr="Male wearing a sweater">
            <a:extLst>
              <a:ext uri="{FF2B5EF4-FFF2-40B4-BE49-F238E27FC236}">
                <a16:creationId xmlns:a16="http://schemas.microsoft.com/office/drawing/2014/main" id="{9C324DB7-F309-D211-5745-24A42FA5DB27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043926" y="3757810"/>
            <a:ext cx="476775" cy="1063987"/>
          </a:xfrm>
          <a:prstGeom prst="rect">
            <a:avLst/>
          </a:prstGeom>
        </p:spPr>
      </p:pic>
      <p:pic>
        <p:nvPicPr>
          <p:cNvPr id="70" name="Graphic 69" descr="Gravestone with solid fill">
            <a:extLst>
              <a:ext uri="{FF2B5EF4-FFF2-40B4-BE49-F238E27FC236}">
                <a16:creationId xmlns:a16="http://schemas.microsoft.com/office/drawing/2014/main" id="{8DBE9FE4-3D6E-5477-E1B5-68A44A9F827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8333839" y="3622372"/>
            <a:ext cx="461176" cy="461176"/>
          </a:xfrm>
          <a:prstGeom prst="rect">
            <a:avLst/>
          </a:prstGeom>
        </p:spPr>
      </p:pic>
      <p:pic>
        <p:nvPicPr>
          <p:cNvPr id="72" name="Graphic 71" descr="Heart with solid fill">
            <a:extLst>
              <a:ext uri="{FF2B5EF4-FFF2-40B4-BE49-F238E27FC236}">
                <a16:creationId xmlns:a16="http://schemas.microsoft.com/office/drawing/2014/main" id="{D714FD31-B4A6-2053-AAD7-26A495824C5D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094879" y="4083547"/>
            <a:ext cx="605318" cy="605318"/>
          </a:xfrm>
          <a:prstGeom prst="rect">
            <a:avLst/>
          </a:prstGeom>
        </p:spPr>
      </p:pic>
      <p:pic>
        <p:nvPicPr>
          <p:cNvPr id="74" name="Graphic 73" descr="Man riding a scooter">
            <a:extLst>
              <a:ext uri="{FF2B5EF4-FFF2-40B4-BE49-F238E27FC236}">
                <a16:creationId xmlns:a16="http://schemas.microsoft.com/office/drawing/2014/main" id="{4877426E-8ABD-47A5-E420-9C1E46860D0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3574206" y="3537944"/>
            <a:ext cx="419172" cy="114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208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9803FF-A0A2-BAD9-ABBF-285852D65E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tárnutí populace ohrožuje ekonomickou udržitelno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358401-4FC0-29CB-D63A-EC1E4D4448C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52158" y="4182518"/>
            <a:ext cx="5062362" cy="368857"/>
          </a:xfrm>
          <a:solidFill>
            <a:srgbClr val="F8F6F2"/>
          </a:solidFill>
        </p:spPr>
        <p:txBody>
          <a:bodyPr anchor="ctr"/>
          <a:lstStyle/>
          <a:p>
            <a:pPr>
              <a:spcAft>
                <a:spcPts val="0"/>
              </a:spcAft>
            </a:pPr>
            <a:r>
              <a:rPr lang="cs-CZ" b="1" dirty="0"/>
              <a:t>Do roku 2050 ekonomicky aktivní populace </a:t>
            </a:r>
            <a:r>
              <a:rPr lang="en-GB" b="1" dirty="0"/>
              <a:t>-</a:t>
            </a:r>
            <a:r>
              <a:rPr lang="cs-CZ" b="1" dirty="0"/>
              <a:t> 11 %</a:t>
            </a:r>
            <a:r>
              <a:rPr lang="en-GB" b="1" dirty="0"/>
              <a:t>, </a:t>
            </a:r>
            <a:r>
              <a:rPr lang="cs-CZ" b="1" dirty="0"/>
              <a:t>p</a:t>
            </a:r>
            <a:r>
              <a:rPr lang="en-GB" b="1" dirty="0"/>
              <a:t>o</a:t>
            </a:r>
            <a:r>
              <a:rPr lang="cs-CZ" b="1" dirty="0"/>
              <a:t>čet penzistů </a:t>
            </a:r>
            <a:r>
              <a:rPr lang="en-GB" b="1" dirty="0"/>
              <a:t>+ </a:t>
            </a:r>
            <a:r>
              <a:rPr lang="cs-CZ" b="1" dirty="0"/>
              <a:t>48 %.</a:t>
            </a:r>
          </a:p>
          <a:p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BE0494-01C1-B81E-89F5-3C7DBD1789F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75893" y="4182518"/>
            <a:ext cx="3588848" cy="368857"/>
          </a:xfrm>
          <a:solidFill>
            <a:srgbClr val="F8F6F2"/>
          </a:solidFill>
        </p:spPr>
        <p:txBody>
          <a:bodyPr/>
          <a:lstStyle/>
          <a:p>
            <a:r>
              <a:rPr lang="cs-CZ" b="1" dirty="0"/>
              <a:t>Výdaje související se stárnutím ze 17 % na 25 % HDP.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482B5F-0F31-9353-3D6A-924CFF2B8EE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06637" y="4774226"/>
            <a:ext cx="3085297" cy="273780"/>
          </a:xfrm>
        </p:spPr>
        <p:txBody>
          <a:bodyPr/>
          <a:lstStyle/>
          <a:p>
            <a:r>
              <a:rPr lang="cs-CZ" dirty="0"/>
              <a:t>Zdravá populace, zdravá ekonomika, zdravé zdravotnictví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56C9C57-C5E6-62E2-5689-566C24D8F75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061" t="13673" r="6272"/>
          <a:stretch/>
        </p:blipFill>
        <p:spPr>
          <a:xfrm>
            <a:off x="2885527" y="1485935"/>
            <a:ext cx="2828925" cy="2541561"/>
          </a:xfrm>
          <a:prstGeom prst="rect">
            <a:avLst/>
          </a:prstGeom>
        </p:spPr>
      </p:pic>
      <p:pic>
        <p:nvPicPr>
          <p:cNvPr id="15" name="Picture 14" descr="A graph of red and blue lines&#10;&#10;AI-generated content may be incorrect.">
            <a:extLst>
              <a:ext uri="{FF2B5EF4-FFF2-40B4-BE49-F238E27FC236}">
                <a16:creationId xmlns:a16="http://schemas.microsoft.com/office/drawing/2014/main" id="{A2749281-3CC2-73C8-4CBB-4F20D4299A3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3673" r="9101"/>
          <a:stretch/>
        </p:blipFill>
        <p:spPr>
          <a:xfrm>
            <a:off x="118187" y="1530568"/>
            <a:ext cx="2771550" cy="25208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9A588C5-B661-E27C-2819-B37D06D8AB0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52712" r="2081"/>
          <a:stretch/>
        </p:blipFill>
        <p:spPr>
          <a:xfrm>
            <a:off x="5760373" y="1682262"/>
            <a:ext cx="3204368" cy="215118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6F1B3AC-F28B-92AE-DD11-E0470A9E80B5}"/>
              </a:ext>
            </a:extLst>
          </p:cNvPr>
          <p:cNvSpPr txBox="1"/>
          <p:nvPr/>
        </p:nvSpPr>
        <p:spPr>
          <a:xfrm>
            <a:off x="5755854" y="1330912"/>
            <a:ext cx="28289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sz="1100" b="1" dirty="0">
                <a:latin typeface="+mn-lt"/>
              </a:rPr>
              <a:t>Zdravotní péče - scénáře</a:t>
            </a:r>
            <a:endParaRPr lang="en-US" sz="1100" b="1" dirty="0">
              <a:latin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73DD94-21A8-4526-0DEC-709780DE0318}"/>
              </a:ext>
            </a:extLst>
          </p:cNvPr>
          <p:cNvSpPr txBox="1"/>
          <p:nvPr/>
        </p:nvSpPr>
        <p:spPr>
          <a:xfrm>
            <a:off x="2954489" y="1330913"/>
            <a:ext cx="28289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sz="1100" b="1" dirty="0">
                <a:latin typeface="+mn-lt"/>
              </a:rPr>
              <a:t>Projekce obyvatelstva ČR k 1.1.2030</a:t>
            </a:r>
            <a:endParaRPr lang="en-US" sz="1100" b="1" dirty="0">
              <a:latin typeface="+mn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009CE05-D388-ED8C-6DEC-5B9E1E45FF4E}"/>
              </a:ext>
            </a:extLst>
          </p:cNvPr>
          <p:cNvSpPr txBox="1"/>
          <p:nvPr/>
        </p:nvSpPr>
        <p:spPr>
          <a:xfrm>
            <a:off x="226468" y="1328263"/>
            <a:ext cx="28289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sz="1100" b="1" dirty="0">
                <a:latin typeface="+mn-lt"/>
              </a:rPr>
              <a:t>Projekce obyvatelstva ČR k 1.1.2024</a:t>
            </a:r>
            <a:endParaRPr lang="en-US" sz="11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021444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B17A66-D8D6-5868-9CB3-70AC2019729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cs-CZ" dirty="0"/>
              <a:t>Zdravá populace, zdravá ekonomika, zdravé zdravotnictví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7771A41-0849-627A-04A4-AEFA2BA058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648" y="641150"/>
            <a:ext cx="2496365" cy="649566"/>
          </a:xfrm>
        </p:spPr>
        <p:txBody>
          <a:bodyPr/>
          <a:lstStyle/>
          <a:p>
            <a:r>
              <a:rPr lang="cs-CZ" sz="1400" dirty="0"/>
              <a:t>Zdraví je investice, ne náklad</a:t>
            </a:r>
            <a:endParaRPr lang="en-US" sz="1400" dirty="0"/>
          </a:p>
        </p:txBody>
      </p:sp>
      <p:pic>
        <p:nvPicPr>
          <p:cNvPr id="5" name="Content Placeholder 6">
            <a:extLst>
              <a:ext uri="{FF2B5EF4-FFF2-40B4-BE49-F238E27FC236}">
                <a16:creationId xmlns:a16="http://schemas.microsoft.com/office/drawing/2014/main" id="{2C2FE2ED-4A39-3D3C-C26B-421150869478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3491851" y="2805347"/>
            <a:ext cx="4960316" cy="2248835"/>
          </a:xfrm>
          <a:prstGeom prst="rect">
            <a:avLst/>
          </a:prstGeom>
        </p:spPr>
      </p:pic>
      <p:pic>
        <p:nvPicPr>
          <p:cNvPr id="6" name="Content Placeholder 9">
            <a:extLst>
              <a:ext uri="{FF2B5EF4-FFF2-40B4-BE49-F238E27FC236}">
                <a16:creationId xmlns:a16="http://schemas.microsoft.com/office/drawing/2014/main" id="{27A0FC43-067F-7C78-9044-B140536849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6444" y="335631"/>
            <a:ext cx="5219396" cy="2248936"/>
          </a:xfrm>
          <a:prstGeom prst="rect">
            <a:avLst/>
          </a:prstGeom>
        </p:spPr>
      </p:pic>
      <p:pic>
        <p:nvPicPr>
          <p:cNvPr id="7" name="Content Placeholder 14">
            <a:extLst>
              <a:ext uri="{FF2B5EF4-FFF2-40B4-BE49-F238E27FC236}">
                <a16:creationId xmlns:a16="http://schemas.microsoft.com/office/drawing/2014/main" id="{6E14FC97-64B8-AEA7-E34D-46BCE3C2B9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321147" y="3116579"/>
            <a:ext cx="2171700" cy="15899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60B5A7B2-5505-91D4-3A5B-FAF3A73062B7}"/>
              </a:ext>
            </a:extLst>
          </p:cNvPr>
          <p:cNvSpPr txBox="1">
            <a:spLocks/>
          </p:cNvSpPr>
          <p:nvPr/>
        </p:nvSpPr>
        <p:spPr bwMode="auto">
          <a:xfrm>
            <a:off x="220648" y="896580"/>
            <a:ext cx="2690192" cy="1675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25000"/>
              </a:lnSpc>
              <a:spcBef>
                <a:spcPts val="0"/>
              </a:spcBef>
              <a:spcAft>
                <a:spcPts val="1050"/>
              </a:spcAft>
              <a:defRPr sz="1050" b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34964" indent="-134964" algn="l" rtl="0" eaLnBrk="1" fontAlgn="base" hangingPunct="1">
              <a:lnSpc>
                <a:spcPct val="125000"/>
              </a:lnSpc>
              <a:spcBef>
                <a:spcPts val="525"/>
              </a:spcBef>
              <a:spcAft>
                <a:spcPct val="0"/>
              </a:spcAft>
              <a:buClr>
                <a:schemeClr val="accent2"/>
              </a:buClr>
              <a:buFontTx/>
              <a:buBlip>
                <a:blip r:embed="rId5"/>
              </a:buBlip>
              <a:defRPr sz="1050" b="0">
                <a:solidFill>
                  <a:schemeClr val="tx2"/>
                </a:solidFill>
                <a:latin typeface="+mn-lt"/>
              </a:defRPr>
            </a:lvl2pPr>
            <a:lvl3pPr marL="270200" indent="-129744" algn="l" rtl="0" eaLnBrk="1" fontAlgn="base" hangingPunct="1">
              <a:lnSpc>
                <a:spcPct val="125000"/>
              </a:lnSpc>
              <a:spcBef>
                <a:spcPts val="150"/>
              </a:spcBef>
              <a:spcAft>
                <a:spcPct val="0"/>
              </a:spcAft>
              <a:buClrTx/>
              <a:buFont typeface="Amalia" pitchFamily="34" charset="0"/>
              <a:buChar char="•"/>
              <a:tabLst/>
              <a:defRPr sz="900">
                <a:solidFill>
                  <a:schemeClr val="tx2"/>
                </a:solidFill>
                <a:latin typeface="+mn-lt"/>
              </a:defRPr>
            </a:lvl3pPr>
            <a:lvl4pPr marL="399493" indent="-134505" algn="l" rtl="0" eaLnBrk="1" fontAlgn="base" hangingPunct="1">
              <a:lnSpc>
                <a:spcPct val="125000"/>
              </a:lnSpc>
              <a:spcBef>
                <a:spcPts val="405"/>
              </a:spcBef>
              <a:spcAft>
                <a:spcPct val="0"/>
              </a:spcAft>
              <a:buClrTx/>
              <a:buFont typeface="Nokia Pure Headline Light" pitchFamily="34" charset="0"/>
              <a:buChar char="–"/>
              <a:tabLst/>
              <a:defRPr sz="75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lnSpc>
                <a:spcPct val="125000"/>
              </a:lnSpc>
              <a:spcBef>
                <a:spcPts val="1500"/>
              </a:spcBef>
              <a:spcAft>
                <a:spcPct val="0"/>
              </a:spcAft>
              <a:buFont typeface="Calibri" panose="020F0502020204030204" pitchFamily="34" charset="0"/>
              <a:buNone/>
              <a:tabLst/>
              <a:defRPr sz="900" b="0" u="sng" baseline="0">
                <a:solidFill>
                  <a:srgbClr val="64C5C9"/>
                </a:solidFill>
                <a:latin typeface="+mn-lt"/>
              </a:defRPr>
            </a:lvl5pPr>
            <a:lvl6pPr marL="0" indent="0" algn="l" rtl="0" eaLnBrk="1" fontAlgn="base" hangingPunct="1">
              <a:spcBef>
                <a:spcPts val="2143"/>
              </a:spcBef>
              <a:spcAft>
                <a:spcPct val="0"/>
              </a:spcAft>
              <a:buFont typeface="Arial" charset="0"/>
              <a:buNone/>
              <a:defRPr sz="1050">
                <a:solidFill>
                  <a:srgbClr val="FF0000"/>
                </a:solidFill>
                <a:latin typeface="+mn-lt"/>
              </a:defRPr>
            </a:lvl6pPr>
            <a:lvl7pPr marL="2015399" indent="-9354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975">
                <a:solidFill>
                  <a:schemeClr val="tx1"/>
                </a:solidFill>
                <a:latin typeface="+mn-lt"/>
              </a:defRPr>
            </a:lvl7pPr>
            <a:lvl8pPr marL="2423582" indent="-9354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975">
                <a:solidFill>
                  <a:schemeClr val="tx1"/>
                </a:solidFill>
                <a:latin typeface="+mn-lt"/>
              </a:defRPr>
            </a:lvl8pPr>
            <a:lvl9pPr marL="2831764" indent="-9354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975">
                <a:solidFill>
                  <a:schemeClr val="tx1"/>
                </a:solidFill>
                <a:latin typeface="+mn-lt"/>
              </a:defRPr>
            </a:lvl9pPr>
          </a:lstStyle>
          <a:p>
            <a:pPr marL="17145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kern="0" dirty="0"/>
              <a:t>Každá investovaná koruna do zdraví může přinést 2–4násobný návrat.</a:t>
            </a:r>
          </a:p>
          <a:p>
            <a:pPr marL="17145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kern="0" dirty="0"/>
              <a:t>Potenciál zvýšení ekonomického růstu </a:t>
            </a:r>
            <a:br>
              <a:rPr lang="cs-CZ" kern="0" dirty="0"/>
            </a:br>
            <a:r>
              <a:rPr lang="cs-CZ" kern="0" dirty="0"/>
              <a:t>o +0,4 % ročně díky zdravému stárnutí.</a:t>
            </a:r>
          </a:p>
          <a:p>
            <a:pPr marL="17145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kern="0" dirty="0"/>
              <a:t>Každý rok prodloužení života ve zdraví má potenciál zrychlit růst ekonomiky až o 1 %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6B66547-F84D-FD46-E1BA-4FDBE1F8528F}"/>
              </a:ext>
            </a:extLst>
          </p:cNvPr>
          <p:cNvSpPr txBox="1"/>
          <p:nvPr/>
        </p:nvSpPr>
        <p:spPr>
          <a:xfrm>
            <a:off x="3406444" y="2641600"/>
            <a:ext cx="564447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sz="1100" b="1" dirty="0"/>
              <a:t>Výdaje zdravotních pojišťoven</a:t>
            </a:r>
            <a:r>
              <a:rPr lang="en-US" sz="1100" b="1" dirty="0"/>
              <a:t> </a:t>
            </a:r>
            <a:r>
              <a:rPr lang="cs-CZ" sz="1100" b="1" dirty="0"/>
              <a:t>na 1 obyvatele podle věku a</a:t>
            </a:r>
            <a:r>
              <a:rPr lang="en-US" sz="1100" b="1" dirty="0"/>
              <a:t> </a:t>
            </a:r>
            <a:r>
              <a:rPr lang="cs-CZ" sz="1100" b="1" dirty="0"/>
              <a:t>pohlaví</a:t>
            </a:r>
            <a:r>
              <a:rPr lang="en-US" sz="1100" b="1" dirty="0"/>
              <a:t>, 2022 (v tis. </a:t>
            </a:r>
            <a:r>
              <a:rPr lang="cs-CZ" sz="1100" b="1" dirty="0"/>
              <a:t>Kč)</a:t>
            </a:r>
            <a:endParaRPr lang="en-US" sz="1100" b="1" dirty="0"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AF91155-6EE4-A5B2-C4B1-54A207852F67}"/>
              </a:ext>
            </a:extLst>
          </p:cNvPr>
          <p:cNvSpPr txBox="1"/>
          <p:nvPr/>
        </p:nvSpPr>
        <p:spPr>
          <a:xfrm>
            <a:off x="3414368" y="115086"/>
            <a:ext cx="568421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sz="1100" b="1" dirty="0"/>
              <a:t>Výdaje na zdravotní péči v zemích EU na jednoho obyvatele v roce 2021 v EUR</a:t>
            </a:r>
            <a:endParaRPr lang="cs-CZ" sz="1100" b="1" dirty="0">
              <a:latin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ADFD25D-C20B-F3AE-E3F8-01EDD894FBA4}"/>
              </a:ext>
            </a:extLst>
          </p:cNvPr>
          <p:cNvSpPr txBox="1"/>
          <p:nvPr/>
        </p:nvSpPr>
        <p:spPr>
          <a:xfrm>
            <a:off x="321147" y="2716868"/>
            <a:ext cx="259683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sz="1100" b="1" dirty="0"/>
              <a:t>Celkové výdaje na zdravotní péči 2017-2022, v mld. Kč, v % HDP</a:t>
            </a:r>
            <a:endParaRPr lang="cs-CZ" sz="1100" b="1" dirty="0">
              <a:latin typeface="+mn-lt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72BE08D-AF68-74CF-AEAB-F6444363AEC4}"/>
              </a:ext>
            </a:extLst>
          </p:cNvPr>
          <p:cNvSpPr/>
          <p:nvPr/>
        </p:nvSpPr>
        <p:spPr>
          <a:xfrm>
            <a:off x="6634556" y="2021306"/>
            <a:ext cx="199381" cy="40265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9841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C8FACE-D4E7-BAE2-F5B0-4552CC17CC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revence a technologie jako klíčové faktory změny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0AB7C20-112B-F6C3-E1E4-5D59395CFA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cs-CZ" dirty="0"/>
              <a:t>Zdravá populace, zdravá ekonomika, zdravé zdravotnictví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910134-0EDD-D286-9AD6-2B2446E5A7D2}"/>
              </a:ext>
            </a:extLst>
          </p:cNvPr>
          <p:cNvSpPr txBox="1"/>
          <p:nvPr/>
        </p:nvSpPr>
        <p:spPr>
          <a:xfrm>
            <a:off x="321147" y="1228181"/>
            <a:ext cx="38893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sz="1100" b="1" dirty="0"/>
              <a:t>Výdaje na zdravotní péči v Česku podle druhu poskytnuté péče, 2010–202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BF4FD80-B7D9-2BA4-0148-F43CEDB85DEE}"/>
              </a:ext>
            </a:extLst>
          </p:cNvPr>
          <p:cNvSpPr txBox="1"/>
          <p:nvPr/>
        </p:nvSpPr>
        <p:spPr>
          <a:xfrm>
            <a:off x="4547634" y="1228181"/>
            <a:ext cx="425799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sz="1100" b="1" dirty="0"/>
              <a:t>Výdaje na preventivní péči v Česku podle jejího typu, 2010–2022</a:t>
            </a:r>
            <a:endParaRPr lang="cs-CZ" sz="1100" b="1" dirty="0">
              <a:latin typeface="+mn-lt"/>
            </a:endParaRP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59EA6F7E-4031-186B-ABBF-AA2A5C06865C}"/>
              </a:ext>
            </a:extLst>
          </p:cNvPr>
          <p:cNvSpPr txBox="1">
            <a:spLocks/>
          </p:cNvSpPr>
          <p:nvPr/>
        </p:nvSpPr>
        <p:spPr bwMode="auto">
          <a:xfrm>
            <a:off x="306637" y="4335705"/>
            <a:ext cx="8383579" cy="47271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25000"/>
              </a:lnSpc>
              <a:spcBef>
                <a:spcPts val="0"/>
              </a:spcBef>
              <a:spcAft>
                <a:spcPts val="1050"/>
              </a:spcAft>
              <a:defRPr sz="1050" b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34964" indent="-134964" algn="l" rtl="0" eaLnBrk="1" fontAlgn="base" hangingPunct="1">
              <a:lnSpc>
                <a:spcPct val="125000"/>
              </a:lnSpc>
              <a:spcBef>
                <a:spcPts val="525"/>
              </a:spcBef>
              <a:spcAft>
                <a:spcPct val="0"/>
              </a:spcAft>
              <a:buClr>
                <a:schemeClr val="accent2"/>
              </a:buClr>
              <a:buFontTx/>
              <a:buBlip>
                <a:blip r:embed="rId2"/>
              </a:buBlip>
              <a:defRPr sz="1050" b="0">
                <a:solidFill>
                  <a:schemeClr val="tx2"/>
                </a:solidFill>
                <a:latin typeface="+mn-lt"/>
              </a:defRPr>
            </a:lvl2pPr>
            <a:lvl3pPr marL="270200" indent="-129744" algn="l" rtl="0" eaLnBrk="1" fontAlgn="base" hangingPunct="1">
              <a:lnSpc>
                <a:spcPct val="125000"/>
              </a:lnSpc>
              <a:spcBef>
                <a:spcPts val="150"/>
              </a:spcBef>
              <a:spcAft>
                <a:spcPct val="0"/>
              </a:spcAft>
              <a:buClrTx/>
              <a:buFont typeface="Amalia" pitchFamily="34" charset="0"/>
              <a:buChar char="•"/>
              <a:tabLst/>
              <a:defRPr sz="900">
                <a:solidFill>
                  <a:schemeClr val="tx2"/>
                </a:solidFill>
                <a:latin typeface="+mn-lt"/>
              </a:defRPr>
            </a:lvl3pPr>
            <a:lvl4pPr marL="399493" indent="-134505" algn="l" rtl="0" eaLnBrk="1" fontAlgn="base" hangingPunct="1">
              <a:lnSpc>
                <a:spcPct val="125000"/>
              </a:lnSpc>
              <a:spcBef>
                <a:spcPts val="405"/>
              </a:spcBef>
              <a:spcAft>
                <a:spcPct val="0"/>
              </a:spcAft>
              <a:buClrTx/>
              <a:buFont typeface="Nokia Pure Headline Light" pitchFamily="34" charset="0"/>
              <a:buChar char="–"/>
              <a:tabLst/>
              <a:defRPr sz="75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lnSpc>
                <a:spcPct val="125000"/>
              </a:lnSpc>
              <a:spcBef>
                <a:spcPts val="1500"/>
              </a:spcBef>
              <a:spcAft>
                <a:spcPct val="0"/>
              </a:spcAft>
              <a:buFont typeface="Calibri" panose="020F0502020204030204" pitchFamily="34" charset="0"/>
              <a:buNone/>
              <a:tabLst/>
              <a:defRPr sz="900" b="0" u="sng" baseline="0">
                <a:solidFill>
                  <a:srgbClr val="64C5C9"/>
                </a:solidFill>
                <a:latin typeface="+mn-lt"/>
              </a:defRPr>
            </a:lvl5pPr>
            <a:lvl6pPr marL="0" indent="0" algn="l" rtl="0" eaLnBrk="1" fontAlgn="base" hangingPunct="1">
              <a:spcBef>
                <a:spcPts val="2143"/>
              </a:spcBef>
              <a:spcAft>
                <a:spcPct val="0"/>
              </a:spcAft>
              <a:buFont typeface="Arial" charset="0"/>
              <a:buNone/>
              <a:defRPr sz="1050">
                <a:solidFill>
                  <a:srgbClr val="FF0000"/>
                </a:solidFill>
                <a:latin typeface="+mn-lt"/>
              </a:defRPr>
            </a:lvl6pPr>
            <a:lvl7pPr marL="2015399" indent="-9354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975">
                <a:solidFill>
                  <a:schemeClr val="tx1"/>
                </a:solidFill>
                <a:latin typeface="+mn-lt"/>
              </a:defRPr>
            </a:lvl7pPr>
            <a:lvl8pPr marL="2423582" indent="-9354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975">
                <a:solidFill>
                  <a:schemeClr val="tx1"/>
                </a:solidFill>
                <a:latin typeface="+mn-lt"/>
              </a:defRPr>
            </a:lvl8pPr>
            <a:lvl9pPr marL="2831764" indent="-9354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975">
                <a:solidFill>
                  <a:schemeClr val="tx1"/>
                </a:solidFill>
                <a:latin typeface="+mn-lt"/>
              </a:defRPr>
            </a:lvl9pPr>
          </a:lstStyle>
          <a:p>
            <a:pPr marL="17145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kern="0" dirty="0"/>
              <a:t>Až 2/3 zlepšení zdravotního stavu lze připsat prevenci.</a:t>
            </a:r>
          </a:p>
          <a:p>
            <a:pPr marL="17145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kern="0" dirty="0"/>
              <a:t>Digitální nástroje, personalizovaná péče a včasná diagnostika jsou cestou ke zdravé populaci.</a:t>
            </a:r>
          </a:p>
          <a:p>
            <a:pPr marL="17145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cs-CZ" kern="0" dirty="0"/>
          </a:p>
        </p:txBody>
      </p:sp>
      <p:pic>
        <p:nvPicPr>
          <p:cNvPr id="12" name="Content Placeholder 8">
            <a:extLst>
              <a:ext uri="{FF2B5EF4-FFF2-40B4-BE49-F238E27FC236}">
                <a16:creationId xmlns:a16="http://schemas.microsoft.com/office/drawing/2014/main" id="{7DFB5657-B99C-1EE6-D6F7-99D1B10363C1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 rotWithShape="1">
          <a:blip r:embed="rId3"/>
          <a:srcRect r="4171"/>
          <a:stretch/>
        </p:blipFill>
        <p:spPr bwMode="auto">
          <a:xfrm>
            <a:off x="433856" y="1581149"/>
            <a:ext cx="3499556" cy="27332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038BD940-61F6-E304-EAD1-72FF07141F9D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4"/>
          <a:stretch>
            <a:fillRect/>
          </a:stretch>
        </p:blipFill>
        <p:spPr>
          <a:xfrm>
            <a:off x="4498426" y="1592714"/>
            <a:ext cx="4356408" cy="261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9212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C8FACE-D4E7-BAE2-F5B0-4552CC17CC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Česká republika umírá zbytečně brzy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0AB7C20-112B-F6C3-E1E4-5D59395CFA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cs-CZ" dirty="0"/>
              <a:t>Zdravá populace, zdravá ekonomika, zdravé zdravotnictví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910134-0EDD-D286-9AD6-2B2446E5A7D2}"/>
              </a:ext>
            </a:extLst>
          </p:cNvPr>
          <p:cNvSpPr txBox="1"/>
          <p:nvPr/>
        </p:nvSpPr>
        <p:spPr>
          <a:xfrm>
            <a:off x="321147" y="1228181"/>
            <a:ext cx="3889375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cs-CZ" sz="1100" b="1" dirty="0"/>
              <a:t>Úmrtnost na preventabilní onemocnění (2021)​</a:t>
            </a:r>
          </a:p>
          <a:p>
            <a:pPr>
              <a:spcAft>
                <a:spcPts val="600"/>
              </a:spcAft>
            </a:pPr>
            <a:r>
              <a:rPr lang="cs-CZ" sz="900" dirty="0"/>
              <a:t>míra úmrtnosti na preventabilní a léčitelná onemocnění na 100 tisíc obyv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BF4FD80-B7D9-2BA4-0148-F43CEDB85DEE}"/>
              </a:ext>
            </a:extLst>
          </p:cNvPr>
          <p:cNvSpPr txBox="1"/>
          <p:nvPr/>
        </p:nvSpPr>
        <p:spPr>
          <a:xfrm>
            <a:off x="4649788" y="1231000"/>
            <a:ext cx="425799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sz="1100" b="1" dirty="0"/>
              <a:t>Délka života ve zdraví při narození podle pohlaví, 2022</a:t>
            </a:r>
            <a:endParaRPr lang="cs-CZ" sz="1100" b="1" dirty="0">
              <a:latin typeface="+mn-lt"/>
            </a:endParaRP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59EA6F7E-4031-186B-ABBF-AA2A5C06865C}"/>
              </a:ext>
            </a:extLst>
          </p:cNvPr>
          <p:cNvSpPr txBox="1">
            <a:spLocks/>
          </p:cNvSpPr>
          <p:nvPr/>
        </p:nvSpPr>
        <p:spPr bwMode="auto">
          <a:xfrm>
            <a:off x="306637" y="4288939"/>
            <a:ext cx="8383579" cy="38472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25000"/>
              </a:lnSpc>
              <a:spcBef>
                <a:spcPts val="0"/>
              </a:spcBef>
              <a:spcAft>
                <a:spcPts val="1050"/>
              </a:spcAft>
              <a:defRPr sz="1050" b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34964" indent="-134964" algn="l" rtl="0" eaLnBrk="1" fontAlgn="base" hangingPunct="1">
              <a:lnSpc>
                <a:spcPct val="125000"/>
              </a:lnSpc>
              <a:spcBef>
                <a:spcPts val="525"/>
              </a:spcBef>
              <a:spcAft>
                <a:spcPct val="0"/>
              </a:spcAft>
              <a:buClr>
                <a:schemeClr val="accent2"/>
              </a:buClr>
              <a:buFontTx/>
              <a:buBlip>
                <a:blip r:embed="rId2"/>
              </a:buBlip>
              <a:defRPr sz="1050" b="0">
                <a:solidFill>
                  <a:schemeClr val="tx2"/>
                </a:solidFill>
                <a:latin typeface="+mn-lt"/>
              </a:defRPr>
            </a:lvl2pPr>
            <a:lvl3pPr marL="270200" indent="-129744" algn="l" rtl="0" eaLnBrk="1" fontAlgn="base" hangingPunct="1">
              <a:lnSpc>
                <a:spcPct val="125000"/>
              </a:lnSpc>
              <a:spcBef>
                <a:spcPts val="150"/>
              </a:spcBef>
              <a:spcAft>
                <a:spcPct val="0"/>
              </a:spcAft>
              <a:buClrTx/>
              <a:buFont typeface="Amalia" pitchFamily="34" charset="0"/>
              <a:buChar char="•"/>
              <a:tabLst/>
              <a:defRPr sz="900">
                <a:solidFill>
                  <a:schemeClr val="tx2"/>
                </a:solidFill>
                <a:latin typeface="+mn-lt"/>
              </a:defRPr>
            </a:lvl3pPr>
            <a:lvl4pPr marL="399493" indent="-134505" algn="l" rtl="0" eaLnBrk="1" fontAlgn="base" hangingPunct="1">
              <a:lnSpc>
                <a:spcPct val="125000"/>
              </a:lnSpc>
              <a:spcBef>
                <a:spcPts val="405"/>
              </a:spcBef>
              <a:spcAft>
                <a:spcPct val="0"/>
              </a:spcAft>
              <a:buClrTx/>
              <a:buFont typeface="Nokia Pure Headline Light" pitchFamily="34" charset="0"/>
              <a:buChar char="–"/>
              <a:tabLst/>
              <a:defRPr sz="75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lnSpc>
                <a:spcPct val="125000"/>
              </a:lnSpc>
              <a:spcBef>
                <a:spcPts val="1500"/>
              </a:spcBef>
              <a:spcAft>
                <a:spcPct val="0"/>
              </a:spcAft>
              <a:buFont typeface="Calibri" panose="020F0502020204030204" pitchFamily="34" charset="0"/>
              <a:buNone/>
              <a:tabLst/>
              <a:defRPr sz="900" b="0" u="sng" baseline="0">
                <a:solidFill>
                  <a:srgbClr val="64C5C9"/>
                </a:solidFill>
                <a:latin typeface="+mn-lt"/>
              </a:defRPr>
            </a:lvl5pPr>
            <a:lvl6pPr marL="0" indent="0" algn="l" rtl="0" eaLnBrk="1" fontAlgn="base" hangingPunct="1">
              <a:spcBef>
                <a:spcPts val="2143"/>
              </a:spcBef>
              <a:spcAft>
                <a:spcPct val="0"/>
              </a:spcAft>
              <a:buFont typeface="Arial" charset="0"/>
              <a:buNone/>
              <a:defRPr sz="1050">
                <a:solidFill>
                  <a:srgbClr val="FF0000"/>
                </a:solidFill>
                <a:latin typeface="+mn-lt"/>
              </a:defRPr>
            </a:lvl6pPr>
            <a:lvl7pPr marL="2015399" indent="-9354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975">
                <a:solidFill>
                  <a:schemeClr val="tx1"/>
                </a:solidFill>
                <a:latin typeface="+mn-lt"/>
              </a:defRPr>
            </a:lvl7pPr>
            <a:lvl8pPr marL="2423582" indent="-9354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975">
                <a:solidFill>
                  <a:schemeClr val="tx1"/>
                </a:solidFill>
                <a:latin typeface="+mn-lt"/>
              </a:defRPr>
            </a:lvl8pPr>
            <a:lvl9pPr marL="2831764" indent="-9354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975">
                <a:solidFill>
                  <a:schemeClr val="tx1"/>
                </a:solidFill>
                <a:latin typeface="+mn-lt"/>
              </a:defRPr>
            </a:lvl9pPr>
          </a:lstStyle>
          <a:p>
            <a:pPr marL="17145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kern="0" dirty="0"/>
              <a:t>Více než 33 000 lidí ročně umírá na preventabilní a léčitelná onemocnění.</a:t>
            </a:r>
          </a:p>
          <a:p>
            <a:pPr marL="17145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kern="0" dirty="0"/>
              <a:t>Průměrný Čech žije zdravě 66 let, Švéd 71 let.</a:t>
            </a:r>
          </a:p>
        </p:txBody>
      </p:sp>
      <p:pic>
        <p:nvPicPr>
          <p:cNvPr id="4" name="Content Placeholder 3" descr="A graph of different colored bars">
            <a:extLst>
              <a:ext uri="{FF2B5EF4-FFF2-40B4-BE49-F238E27FC236}">
                <a16:creationId xmlns:a16="http://schemas.microsoft.com/office/drawing/2014/main" id="{436B7F97-6382-CAE7-EB3F-7AE7DC1C5BFF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3"/>
          <a:stretch>
            <a:fillRect/>
          </a:stretch>
        </p:blipFill>
        <p:spPr>
          <a:xfrm>
            <a:off x="363439" y="1706505"/>
            <a:ext cx="3816546" cy="2235315"/>
          </a:xfrm>
          <a:prstGeom prst="rect">
            <a:avLst/>
          </a:prstGeom>
          <a:noFill/>
        </p:spPr>
      </p:pic>
      <p:pic>
        <p:nvPicPr>
          <p:cNvPr id="17" name="Content Placeholder 16" descr="A screenshot of a graph&#10;&#10;AI-generated content may be incorrect.">
            <a:extLst>
              <a:ext uri="{FF2B5EF4-FFF2-40B4-BE49-F238E27FC236}">
                <a16:creationId xmlns:a16="http://schemas.microsoft.com/office/drawing/2014/main" id="{7BC8BC68-87A4-F602-CB7B-26244AC47C3B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rcRect l="3081" t="10694" r="1361" b="17836"/>
          <a:stretch/>
        </p:blipFill>
        <p:spPr>
          <a:xfrm>
            <a:off x="4277863" y="1478279"/>
            <a:ext cx="4866137" cy="2679455"/>
          </a:xfr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32939A4F-2481-9210-EF29-7FD5DF7E8F3B}"/>
              </a:ext>
            </a:extLst>
          </p:cNvPr>
          <p:cNvSpPr/>
          <p:nvPr/>
        </p:nvSpPr>
        <p:spPr>
          <a:xfrm>
            <a:off x="6345797" y="2747429"/>
            <a:ext cx="715021" cy="105774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4138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C8FACE-D4E7-BAE2-F5B0-4552CC17CC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637" y="829099"/>
            <a:ext cx="8672714" cy="368485"/>
          </a:xfrm>
        </p:spPr>
        <p:txBody>
          <a:bodyPr/>
          <a:lstStyle/>
          <a:p>
            <a:r>
              <a:rPr lang="cs-CZ" dirty="0"/>
              <a:t>Zdravotní systém čelí výzvám – chybí racionalita, přebývá politika</a:t>
            </a:r>
            <a:br>
              <a:rPr lang="cs-CZ" dirty="0"/>
            </a:b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0AB7C20-112B-F6C3-E1E4-5D59395CFA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cs-CZ" dirty="0"/>
              <a:t>Zdravá populace, zdravá ekonomika, zdravé zdravotnictví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910134-0EDD-D286-9AD6-2B2446E5A7D2}"/>
              </a:ext>
            </a:extLst>
          </p:cNvPr>
          <p:cNvSpPr txBox="1"/>
          <p:nvPr/>
        </p:nvSpPr>
        <p:spPr>
          <a:xfrm>
            <a:off x="321147" y="1228181"/>
            <a:ext cx="388937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sz="1100" b="1" dirty="0"/>
              <a:t>Meziroční nárůst nákladů v.z.p. v % (2012-2025)</a:t>
            </a:r>
            <a:endParaRPr lang="en-US" sz="1100" b="1" dirty="0">
              <a:latin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BF4FD80-B7D9-2BA4-0148-F43CEDB85DEE}"/>
              </a:ext>
            </a:extLst>
          </p:cNvPr>
          <p:cNvSpPr txBox="1"/>
          <p:nvPr/>
        </p:nvSpPr>
        <p:spPr>
          <a:xfrm>
            <a:off x="4721359" y="1228181"/>
            <a:ext cx="425799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sz="1100" b="1" dirty="0"/>
              <a:t>Výdaje na zdravotní péči v Česku podle hlavních zdrojů financování, 2010–2022</a:t>
            </a:r>
            <a:endParaRPr lang="cs-CZ" sz="1100" b="1" dirty="0">
              <a:latin typeface="+mn-lt"/>
            </a:endParaRP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59EA6F7E-4031-186B-ABBF-AA2A5C06865C}"/>
              </a:ext>
            </a:extLst>
          </p:cNvPr>
          <p:cNvSpPr txBox="1">
            <a:spLocks/>
          </p:cNvSpPr>
          <p:nvPr/>
        </p:nvSpPr>
        <p:spPr bwMode="auto">
          <a:xfrm>
            <a:off x="306637" y="3961456"/>
            <a:ext cx="3785874" cy="705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25000"/>
              </a:lnSpc>
              <a:spcBef>
                <a:spcPts val="0"/>
              </a:spcBef>
              <a:spcAft>
                <a:spcPts val="1050"/>
              </a:spcAft>
              <a:defRPr sz="1050" b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34964" indent="-134964" algn="l" rtl="0" eaLnBrk="1" fontAlgn="base" hangingPunct="1">
              <a:lnSpc>
                <a:spcPct val="125000"/>
              </a:lnSpc>
              <a:spcBef>
                <a:spcPts val="525"/>
              </a:spcBef>
              <a:spcAft>
                <a:spcPct val="0"/>
              </a:spcAft>
              <a:buClr>
                <a:schemeClr val="accent2"/>
              </a:buClr>
              <a:buFontTx/>
              <a:buBlip>
                <a:blip r:embed="rId2"/>
              </a:buBlip>
              <a:defRPr sz="1050" b="0">
                <a:solidFill>
                  <a:schemeClr val="tx2"/>
                </a:solidFill>
                <a:latin typeface="+mn-lt"/>
              </a:defRPr>
            </a:lvl2pPr>
            <a:lvl3pPr marL="270200" indent="-129744" algn="l" rtl="0" eaLnBrk="1" fontAlgn="base" hangingPunct="1">
              <a:lnSpc>
                <a:spcPct val="125000"/>
              </a:lnSpc>
              <a:spcBef>
                <a:spcPts val="150"/>
              </a:spcBef>
              <a:spcAft>
                <a:spcPct val="0"/>
              </a:spcAft>
              <a:buClrTx/>
              <a:buFont typeface="Amalia" pitchFamily="34" charset="0"/>
              <a:buChar char="•"/>
              <a:tabLst/>
              <a:defRPr sz="900">
                <a:solidFill>
                  <a:schemeClr val="tx2"/>
                </a:solidFill>
                <a:latin typeface="+mn-lt"/>
              </a:defRPr>
            </a:lvl3pPr>
            <a:lvl4pPr marL="399493" indent="-134505" algn="l" rtl="0" eaLnBrk="1" fontAlgn="base" hangingPunct="1">
              <a:lnSpc>
                <a:spcPct val="125000"/>
              </a:lnSpc>
              <a:spcBef>
                <a:spcPts val="405"/>
              </a:spcBef>
              <a:spcAft>
                <a:spcPct val="0"/>
              </a:spcAft>
              <a:buClrTx/>
              <a:buFont typeface="Nokia Pure Headline Light" pitchFamily="34" charset="0"/>
              <a:buChar char="–"/>
              <a:tabLst/>
              <a:defRPr sz="75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lnSpc>
                <a:spcPct val="125000"/>
              </a:lnSpc>
              <a:spcBef>
                <a:spcPts val="1500"/>
              </a:spcBef>
              <a:spcAft>
                <a:spcPct val="0"/>
              </a:spcAft>
              <a:buFont typeface="Calibri" panose="020F0502020204030204" pitchFamily="34" charset="0"/>
              <a:buNone/>
              <a:tabLst/>
              <a:defRPr sz="900" b="0" u="sng" baseline="0">
                <a:solidFill>
                  <a:srgbClr val="64C5C9"/>
                </a:solidFill>
                <a:latin typeface="+mn-lt"/>
              </a:defRPr>
            </a:lvl5pPr>
            <a:lvl6pPr marL="0" indent="0" algn="l" rtl="0" eaLnBrk="1" fontAlgn="base" hangingPunct="1">
              <a:spcBef>
                <a:spcPts val="2143"/>
              </a:spcBef>
              <a:spcAft>
                <a:spcPct val="0"/>
              </a:spcAft>
              <a:buFont typeface="Arial" charset="0"/>
              <a:buNone/>
              <a:defRPr sz="1050">
                <a:solidFill>
                  <a:srgbClr val="FF0000"/>
                </a:solidFill>
                <a:latin typeface="+mn-lt"/>
              </a:defRPr>
            </a:lvl6pPr>
            <a:lvl7pPr marL="2015399" indent="-9354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975">
                <a:solidFill>
                  <a:schemeClr val="tx1"/>
                </a:solidFill>
                <a:latin typeface="+mn-lt"/>
              </a:defRPr>
            </a:lvl7pPr>
            <a:lvl8pPr marL="2423582" indent="-9354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975">
                <a:solidFill>
                  <a:schemeClr val="tx1"/>
                </a:solidFill>
                <a:latin typeface="+mn-lt"/>
              </a:defRPr>
            </a:lvl8pPr>
            <a:lvl9pPr marL="2831764" indent="-9354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975">
                <a:solidFill>
                  <a:schemeClr val="tx1"/>
                </a:solidFill>
                <a:latin typeface="+mn-lt"/>
              </a:defRPr>
            </a:lvl9pPr>
          </a:lstStyle>
          <a:p>
            <a:pPr marL="17145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kern="0" dirty="0"/>
              <a:t>Deficit až 3 % HDP do roku 2050+.</a:t>
            </a:r>
          </a:p>
          <a:p>
            <a:pPr marL="17145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kern="0" dirty="0"/>
              <a:t>Automatická valorizace plateb za státní pojištěnce jako krok k racionalizaci.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BB6114F0-A217-79C4-4838-D33685568DFA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3"/>
          <a:stretch>
            <a:fillRect/>
          </a:stretch>
        </p:blipFill>
        <p:spPr>
          <a:xfrm>
            <a:off x="227363" y="1669574"/>
            <a:ext cx="4376687" cy="2173198"/>
          </a:xfrm>
          <a:prstGeom prst="rect">
            <a:avLst/>
          </a:prstGeom>
        </p:spPr>
      </p:pic>
      <p:pic>
        <p:nvPicPr>
          <p:cNvPr id="14" name="Content Placeholder 13">
            <a:extLst>
              <a:ext uri="{FF2B5EF4-FFF2-40B4-BE49-F238E27FC236}">
                <a16:creationId xmlns:a16="http://schemas.microsoft.com/office/drawing/2014/main" id="{FC85A3B6-5EB8-83B0-0107-F9FE5A17AA4D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4"/>
          <a:stretch>
            <a:fillRect/>
          </a:stretch>
        </p:blipFill>
        <p:spPr>
          <a:xfrm>
            <a:off x="4618986" y="1669574"/>
            <a:ext cx="4350371" cy="2856706"/>
          </a:xfrm>
        </p:spPr>
      </p:pic>
    </p:spTree>
    <p:extLst>
      <p:ext uri="{BB962C8B-B14F-4D97-AF65-F5344CB8AC3E}">
        <p14:creationId xmlns:p14="http://schemas.microsoft.com/office/powerpoint/2010/main" val="37636316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1E002C-589C-7C63-FAA7-3CA61DF450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Zdravé zrání!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16235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Design">
  <a:themeElements>
    <a:clrScheme name="RBI Theme">
      <a:dk1>
        <a:srgbClr val="000000"/>
      </a:dk1>
      <a:lt1>
        <a:srgbClr val="FFFFFF"/>
      </a:lt1>
      <a:dk2>
        <a:srgbClr val="2B2D34"/>
      </a:dk2>
      <a:lt2>
        <a:srgbClr val="F1EDE6"/>
      </a:lt2>
      <a:accent1>
        <a:srgbClr val="FEE600"/>
      </a:accent1>
      <a:accent2>
        <a:srgbClr val="FFD403"/>
      </a:accent2>
      <a:accent3>
        <a:srgbClr val="F9BB30"/>
      </a:accent3>
      <a:accent4>
        <a:srgbClr val="67D0AB"/>
      </a:accent4>
      <a:accent5>
        <a:srgbClr val="FF8B6B"/>
      </a:accent5>
      <a:accent6>
        <a:srgbClr val="6A4CAD"/>
      </a:accent6>
      <a:hlink>
        <a:srgbClr val="64C5C9"/>
      </a:hlink>
      <a:folHlink>
        <a:srgbClr val="2B2D34"/>
      </a:folHlink>
    </a:clrScheme>
    <a:fontScheme name="RBI">
      <a:majorFont>
        <a:latin typeface="Amalia"/>
        <a:ea typeface=""/>
        <a:cs typeface=""/>
      </a:majorFont>
      <a:minorFont>
        <a:latin typeface="Amal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>
            <a:latin typeface="+mn-lt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F07600"/>
        </a:dk2>
        <a:lt2>
          <a:srgbClr val="636B70"/>
        </a:lt2>
        <a:accent1>
          <a:srgbClr val="ADADAD"/>
        </a:accent1>
        <a:accent2>
          <a:srgbClr val="9C3024"/>
        </a:accent2>
        <a:accent3>
          <a:srgbClr val="FFFFFF"/>
        </a:accent3>
        <a:accent4>
          <a:srgbClr val="000000"/>
        </a:accent4>
        <a:accent5>
          <a:srgbClr val="D3D3D3"/>
        </a:accent5>
        <a:accent6>
          <a:srgbClr val="8D2A20"/>
        </a:accent6>
        <a:hlink>
          <a:srgbClr val="0066CB"/>
        </a:hlink>
        <a:folHlink>
          <a:srgbClr val="99CD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WarmGrey">
      <a:srgbClr val="F1EDE6"/>
    </a:custClr>
    <a:custClr name="WarmGrey50">
      <a:srgbClr val="F8F6F2"/>
    </a:custClr>
    <a:custClr name="GreenDark">
      <a:srgbClr val="225B45"/>
    </a:custClr>
    <a:custClr name="GreenMid">
      <a:srgbClr val="67D0AB"/>
    </a:custClr>
    <a:custClr name="GreenBright">
      <a:srgbClr val="A3E2CC"/>
    </a:custClr>
    <a:custClr name="CoralMid">
      <a:srgbClr val="FF8B6B"/>
    </a:custClr>
    <a:custClr name="CoralBright">
      <a:srgbClr val="FFB9A5"/>
    </a:custClr>
    <a:custClr name="PurpleMid">
      <a:srgbClr val="6A4CAD"/>
    </a:custClr>
    <a:custClr name="PurpleBright">
      <a:srgbClr val="9D88D9"/>
    </a:custClr>
  </a:custClrLst>
  <a:extLst>
    <a:ext uri="{05A4C25C-085E-4340-85A3-A5531E510DB2}">
      <thm15:themeFamily xmlns:thm15="http://schemas.microsoft.com/office/thememl/2012/main" name="Default Design" id="{8B453BF1-38A1-46D2-920E-A5F4956BB65E}" vid="{EED87302-4BED-44A7-B6C2-41C1467E8C45}"/>
    </a:ext>
  </a:extLst>
</a:theme>
</file>

<file path=ppt/theme/theme2.xml><?xml version="1.0" encoding="utf-8"?>
<a:theme xmlns:a="http://schemas.openxmlformats.org/drawingml/2006/main" name="1_RB">
  <a:themeElements>
    <a:clrScheme name="RBI Theme">
      <a:dk1>
        <a:srgbClr val="000000"/>
      </a:dk1>
      <a:lt1>
        <a:srgbClr val="FFFFFF"/>
      </a:lt1>
      <a:dk2>
        <a:srgbClr val="2B2D34"/>
      </a:dk2>
      <a:lt2>
        <a:srgbClr val="F1EDE6"/>
      </a:lt2>
      <a:accent1>
        <a:srgbClr val="FEE600"/>
      </a:accent1>
      <a:accent2>
        <a:srgbClr val="FFD403"/>
      </a:accent2>
      <a:accent3>
        <a:srgbClr val="F9BB30"/>
      </a:accent3>
      <a:accent4>
        <a:srgbClr val="67D0AB"/>
      </a:accent4>
      <a:accent5>
        <a:srgbClr val="FF8B6B"/>
      </a:accent5>
      <a:accent6>
        <a:srgbClr val="6A4CAD"/>
      </a:accent6>
      <a:hlink>
        <a:srgbClr val="64C5C9"/>
      </a:hlink>
      <a:folHlink>
        <a:srgbClr val="2B2D34"/>
      </a:folHlink>
    </a:clrScheme>
    <a:fontScheme name="RBI">
      <a:majorFont>
        <a:latin typeface="Amalia"/>
        <a:ea typeface=""/>
        <a:cs typeface=""/>
      </a:majorFont>
      <a:minorFont>
        <a:latin typeface="Amal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>
            <a:latin typeface="+mn-lt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F07600"/>
        </a:dk2>
        <a:lt2>
          <a:srgbClr val="636B70"/>
        </a:lt2>
        <a:accent1>
          <a:srgbClr val="ADADAD"/>
        </a:accent1>
        <a:accent2>
          <a:srgbClr val="9C3024"/>
        </a:accent2>
        <a:accent3>
          <a:srgbClr val="FFFFFF"/>
        </a:accent3>
        <a:accent4>
          <a:srgbClr val="000000"/>
        </a:accent4>
        <a:accent5>
          <a:srgbClr val="D3D3D3"/>
        </a:accent5>
        <a:accent6>
          <a:srgbClr val="8D2A20"/>
        </a:accent6>
        <a:hlink>
          <a:srgbClr val="0066CB"/>
        </a:hlink>
        <a:folHlink>
          <a:srgbClr val="99CD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WarmGrey">
      <a:srgbClr val="F1EDE6"/>
    </a:custClr>
    <a:custClr name="WarmGrey50">
      <a:srgbClr val="F8F6F2"/>
    </a:custClr>
    <a:custClr name="GreenDark">
      <a:srgbClr val="225B45"/>
    </a:custClr>
    <a:custClr name="GreenMid">
      <a:srgbClr val="67D0AB"/>
    </a:custClr>
    <a:custClr name="GreenBright">
      <a:srgbClr val="A3E2CC"/>
    </a:custClr>
    <a:custClr name="CoralMid">
      <a:srgbClr val="FF8B6B"/>
    </a:custClr>
    <a:custClr name="CoralBright">
      <a:srgbClr val="FFB9A5"/>
    </a:custClr>
    <a:custClr name="PurpleMid">
      <a:srgbClr val="6A4CAD"/>
    </a:custClr>
    <a:custClr name="PurpleBright">
      <a:srgbClr val="9D88D9"/>
    </a:custClr>
  </a:custClrLst>
  <a:extLst>
    <a:ext uri="{05A4C25C-085E-4340-85A3-A5531E510DB2}">
      <thm15:themeFamily xmlns:thm15="http://schemas.microsoft.com/office/thememl/2012/main" name="Prezentace1" id="{CDF3CEAA-9EBB-4FB0-AA39-D5B62374EB03}" vid="{DE190B05-2196-4A55-BA05-D2CABAF59089}"/>
    </a:ext>
  </a:extLst>
</a:theme>
</file>

<file path=ppt/theme/theme3.xml><?xml version="1.0" encoding="utf-8"?>
<a:theme xmlns:a="http://schemas.openxmlformats.org/drawingml/2006/main" name="Motiv sady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otiv sady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C4FAABCCED7A6408A569143890F8B1D" ma:contentTypeVersion="10" ma:contentTypeDescription="Create a new document." ma:contentTypeScope="" ma:versionID="512da83979a6b76dd9a6a63edbaee90e">
  <xsd:schema xmlns:xsd="http://www.w3.org/2001/XMLSchema" xmlns:xs="http://www.w3.org/2001/XMLSchema" xmlns:p="http://schemas.microsoft.com/office/2006/metadata/properties" xmlns:ns2="f8b0a7ff-366b-49d3-9354-acd13bdab121" xmlns:ns3="8ad8ae6a-3019-46be-bd8a-09927c6d67b0" targetNamespace="http://schemas.microsoft.com/office/2006/metadata/properties" ma:root="true" ma:fieldsID="391edbf06d52967585da7f35bcd1bc74" ns2:_="" ns3:_="">
    <xsd:import namespace="f8b0a7ff-366b-49d3-9354-acd13bdab121"/>
    <xsd:import namespace="8ad8ae6a-3019-46be-bd8a-09927c6d67b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b0a7ff-366b-49d3-9354-acd13bdab1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d8ae6a-3019-46be-bd8a-09927c6d67b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8F02294-CB36-435A-A215-FE7C4274FB0F}">
  <ds:schemaRefs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8ad8ae6a-3019-46be-bd8a-09927c6d67b0"/>
    <ds:schemaRef ds:uri="f8b0a7ff-366b-49d3-9354-acd13bdab121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6077F28-8665-44FE-92C7-3EAD1A8B4BF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752128A-565F-4F25-B669-C84B779DC149}">
  <ds:schemaRefs>
    <ds:schemaRef ds:uri="8ad8ae6a-3019-46be-bd8a-09927c6d67b0"/>
    <ds:schemaRef ds:uri="f8b0a7ff-366b-49d3-9354-acd13bdab12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otiv sady Office</Template>
  <TotalTime>249</TotalTime>
  <Words>410</Words>
  <Application>Microsoft Office PowerPoint</Application>
  <PresentationFormat>On-screen Show (16:9)</PresentationFormat>
  <Paragraphs>49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malia</vt:lpstr>
      <vt:lpstr>Amalia Medium</vt:lpstr>
      <vt:lpstr>Arial</vt:lpstr>
      <vt:lpstr>Calibri</vt:lpstr>
      <vt:lpstr>Nokia Pure Headline Light</vt:lpstr>
      <vt:lpstr>1_Default Design</vt:lpstr>
      <vt:lpstr>1_RB</vt:lpstr>
      <vt:lpstr>think-cell Slide</vt:lpstr>
      <vt:lpstr>Zdravá populace, zdravá ekonomika, ZDRAVÉ ZDRAVOTNICTVÍ Jak učinit ekonomiku a zdravotní systém odolnějším</vt:lpstr>
      <vt:lpstr>Demografie nezná slitování – ekonomicky aktivní populace se tenčí</vt:lpstr>
      <vt:lpstr>Stárnutí populace ohrožuje ekonomickou udržitelnost</vt:lpstr>
      <vt:lpstr>Zdraví je investice, ne náklad</vt:lpstr>
      <vt:lpstr>Prevence a technologie jako klíčové faktory změny</vt:lpstr>
      <vt:lpstr>Česká republika umírá zbytečně brzy</vt:lpstr>
      <vt:lpstr>Zdravotní systém čelí výzvám – chybí racionalita, přebývá politika </vt:lpstr>
      <vt:lpstr>Zdravé zrání!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subject/>
  <dc:creator>Olga Hrdinová</dc:creator>
  <cp:keywords/>
  <dc:description/>
  <cp:lastModifiedBy>Helena HORSKA2</cp:lastModifiedBy>
  <cp:revision>15</cp:revision>
  <cp:lastPrinted>2024-10-11T14:12:35Z</cp:lastPrinted>
  <dcterms:created xsi:type="dcterms:W3CDTF">2021-10-18T14:22:51Z</dcterms:created>
  <dcterms:modified xsi:type="dcterms:W3CDTF">2025-06-11T21:49:3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a6524ed-fb1a-49fd-bafe-15c5e5ffd047_Enabled">
    <vt:lpwstr>true</vt:lpwstr>
  </property>
  <property fmtid="{D5CDD505-2E9C-101B-9397-08002B2CF9AE}" pid="3" name="MSIP_Label_2a6524ed-fb1a-49fd-bafe-15c5e5ffd047_SetDate">
    <vt:lpwstr>2022-08-01T07:28:23Z</vt:lpwstr>
  </property>
  <property fmtid="{D5CDD505-2E9C-101B-9397-08002B2CF9AE}" pid="4" name="MSIP_Label_2a6524ed-fb1a-49fd-bafe-15c5e5ffd047_Method">
    <vt:lpwstr>Standard</vt:lpwstr>
  </property>
  <property fmtid="{D5CDD505-2E9C-101B-9397-08002B2CF9AE}" pid="5" name="MSIP_Label_2a6524ed-fb1a-49fd-bafe-15c5e5ffd047_Name">
    <vt:lpwstr>Internal</vt:lpwstr>
  </property>
  <property fmtid="{D5CDD505-2E9C-101B-9397-08002B2CF9AE}" pid="6" name="MSIP_Label_2a6524ed-fb1a-49fd-bafe-15c5e5ffd047_SiteId">
    <vt:lpwstr>9b511fda-f0b1-43a5-b06e-1e720f64520a</vt:lpwstr>
  </property>
  <property fmtid="{D5CDD505-2E9C-101B-9397-08002B2CF9AE}" pid="7" name="MSIP_Label_2a6524ed-fb1a-49fd-bafe-15c5e5ffd047_ActionId">
    <vt:lpwstr>455e87ab-52f6-42da-85d2-d9bd626a1ae3</vt:lpwstr>
  </property>
  <property fmtid="{D5CDD505-2E9C-101B-9397-08002B2CF9AE}" pid="8" name="MSIP_Label_2a6524ed-fb1a-49fd-bafe-15c5e5ffd047_ContentBits">
    <vt:lpwstr>0</vt:lpwstr>
  </property>
  <property fmtid="{D5CDD505-2E9C-101B-9397-08002B2CF9AE}" pid="9" name="ContentTypeId">
    <vt:lpwstr>0x0101005C4FAABCCED7A6408A569143890F8B1D</vt:lpwstr>
  </property>
</Properties>
</file>